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6" r:id="rId5"/>
    <p:sldMasterId id="2147483712" r:id="rId6"/>
  </p:sldMasterIdLst>
  <p:notesMasterIdLst>
    <p:notesMasterId r:id="rId8"/>
  </p:notesMasterIdLst>
  <p:sldIdLst>
    <p:sldId id="415" r:id="rId7"/>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10" userDrawn="1">
          <p15:clr>
            <a:srgbClr val="A4A3A4"/>
          </p15:clr>
        </p15:guide>
        <p15:guide id="2" pos="937" userDrawn="1">
          <p15:clr>
            <a:srgbClr val="A4A3A4"/>
          </p15:clr>
        </p15:guide>
        <p15:guide id="3" pos="6743" userDrawn="1">
          <p15:clr>
            <a:srgbClr val="A4A3A4"/>
          </p15:clr>
        </p15:guide>
        <p15:guide id="4" orient="horz" pos="1185" userDrawn="1">
          <p15:clr>
            <a:srgbClr val="A4A3A4"/>
          </p15:clr>
        </p15:guide>
        <p15:guide id="5" pos="7333" userDrawn="1">
          <p15:clr>
            <a:srgbClr val="A4A3A4"/>
          </p15:clr>
        </p15:guide>
        <p15:guide id="6" orient="horz" pos="3716" userDrawn="1">
          <p15:clr>
            <a:srgbClr val="A4A3A4"/>
          </p15:clr>
        </p15:guide>
        <p15:guide id="7" orient="horz" pos="358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yer Raphael (KOM-PGA-VSF)" initials="RMe" lastIdx="1" clrIdx="0">
    <p:extLst>
      <p:ext uri="{19B8F6BF-5375-455C-9EA6-DF929625EA0E}">
        <p15:presenceInfo xmlns:p15="http://schemas.microsoft.com/office/powerpoint/2012/main" userId="Meyer Raphael (KOM-PGA-VSF)"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20013"/>
    <a:srgbClr val="EB0000"/>
    <a:srgbClr val="F6F6F6"/>
    <a:srgbClr val="E5E5E5"/>
    <a:srgbClr val="C60018"/>
    <a:srgbClr val="8D8D8D"/>
    <a:srgbClr val="BDBDBD"/>
    <a:srgbClr val="444444"/>
    <a:srgbClr val="DDDD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471" autoAdjust="0"/>
    <p:restoredTop sz="94660"/>
  </p:normalViewPr>
  <p:slideViewPr>
    <p:cSldViewPr snapToGrid="0">
      <p:cViewPr varScale="1">
        <p:scale>
          <a:sx n="148" d="100"/>
          <a:sy n="148" d="100"/>
        </p:scale>
        <p:origin x="1278" y="114"/>
      </p:cViewPr>
      <p:guideLst>
        <p:guide orient="horz" pos="3810"/>
        <p:guide pos="937"/>
        <p:guide pos="6743"/>
        <p:guide orient="horz" pos="1185"/>
        <p:guide pos="7333"/>
        <p:guide orient="horz" pos="3716"/>
        <p:guide orient="horz" pos="3589"/>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yer Raphael (PAR-ES)" userId="79615dfe-ed48-4e74-a40f-4f7b034c1c27" providerId="ADAL" clId="{6F0F56D4-953D-4686-8DA4-A88D65B96112}"/>
    <pc:docChg chg="modSld sldOrd">
      <pc:chgData name="Meyer Raphael (PAR-ES)" userId="79615dfe-ed48-4e74-a40f-4f7b034c1c27" providerId="ADAL" clId="{6F0F56D4-953D-4686-8DA4-A88D65B96112}" dt="2021-02-08T13:40:24.476" v="0"/>
      <pc:docMkLst>
        <pc:docMk/>
      </pc:docMkLst>
      <pc:sldChg chg="ord">
        <pc:chgData name="Meyer Raphael (PAR-ES)" userId="79615dfe-ed48-4e74-a40f-4f7b034c1c27" providerId="ADAL" clId="{6F0F56D4-953D-4686-8DA4-A88D65B96112}" dt="2021-02-08T13:40:24.476" v="0"/>
        <pc:sldMkLst>
          <pc:docMk/>
          <pc:sldMk cId="277025245" sldId="325"/>
        </pc:sldMkLst>
      </pc:sldChg>
    </pc:docChg>
  </pc:docChgLst>
  <pc:docChgLst>
    <pc:chgData name="Meyer Raphael (PAR-ES)" userId="79615dfe-ed48-4e74-a40f-4f7b034c1c27" providerId="ADAL" clId="{09C02B11-E0D9-4F5C-A7AC-A38C35D7C045}"/>
    <pc:docChg chg="undo custSel addSld delSld modSld sldOrd">
      <pc:chgData name="Meyer Raphael (PAR-ES)" userId="79615dfe-ed48-4e74-a40f-4f7b034c1c27" providerId="ADAL" clId="{09C02B11-E0D9-4F5C-A7AC-A38C35D7C045}" dt="2021-03-25T08:23:58.620" v="108" actId="47"/>
      <pc:docMkLst>
        <pc:docMk/>
      </pc:docMkLst>
      <pc:sldChg chg="delSp modSp mod">
        <pc:chgData name="Meyer Raphael (PAR-ES)" userId="79615dfe-ed48-4e74-a40f-4f7b034c1c27" providerId="ADAL" clId="{09C02B11-E0D9-4F5C-A7AC-A38C35D7C045}" dt="2021-03-25T08:21:25.365" v="92" actId="478"/>
        <pc:sldMkLst>
          <pc:docMk/>
          <pc:sldMk cId="1667945532" sldId="306"/>
        </pc:sldMkLst>
        <pc:spChg chg="mod">
          <ac:chgData name="Meyer Raphael (PAR-ES)" userId="79615dfe-ed48-4e74-a40f-4f7b034c1c27" providerId="ADAL" clId="{09C02B11-E0D9-4F5C-A7AC-A38C35D7C045}" dt="2021-03-25T08:13:24.018" v="9" actId="20577"/>
          <ac:spMkLst>
            <pc:docMk/>
            <pc:sldMk cId="1667945532" sldId="306"/>
            <ac:spMk id="8" creationId="{5857C2A1-2CB8-4D4A-AEFD-E809BF73D04F}"/>
          </ac:spMkLst>
        </pc:spChg>
        <pc:spChg chg="del">
          <ac:chgData name="Meyer Raphael (PAR-ES)" userId="79615dfe-ed48-4e74-a40f-4f7b034c1c27" providerId="ADAL" clId="{09C02B11-E0D9-4F5C-A7AC-A38C35D7C045}" dt="2021-03-25T08:21:23.157" v="91" actId="478"/>
          <ac:spMkLst>
            <pc:docMk/>
            <pc:sldMk cId="1667945532" sldId="306"/>
            <ac:spMk id="22" creationId="{A4D052E9-A3D0-4D29-96C0-4125FCB1567B}"/>
          </ac:spMkLst>
        </pc:spChg>
        <pc:spChg chg="del">
          <ac:chgData name="Meyer Raphael (PAR-ES)" userId="79615dfe-ed48-4e74-a40f-4f7b034c1c27" providerId="ADAL" clId="{09C02B11-E0D9-4F5C-A7AC-A38C35D7C045}" dt="2021-03-25T08:21:25.365" v="92" actId="478"/>
          <ac:spMkLst>
            <pc:docMk/>
            <pc:sldMk cId="1667945532" sldId="306"/>
            <ac:spMk id="25" creationId="{9772D52D-035A-4D28-AE3A-4F5DD2C31620}"/>
          </ac:spMkLst>
        </pc:spChg>
        <pc:spChg chg="mod">
          <ac:chgData name="Meyer Raphael (PAR-ES)" userId="79615dfe-ed48-4e74-a40f-4f7b034c1c27" providerId="ADAL" clId="{09C02B11-E0D9-4F5C-A7AC-A38C35D7C045}" dt="2021-03-25T08:14:05.362" v="19" actId="20577"/>
          <ac:spMkLst>
            <pc:docMk/>
            <pc:sldMk cId="1667945532" sldId="306"/>
            <ac:spMk id="27" creationId="{46A6B042-39EE-4A58-BBAA-13D52264B660}"/>
          </ac:spMkLst>
        </pc:spChg>
        <pc:spChg chg="mod">
          <ac:chgData name="Meyer Raphael (PAR-ES)" userId="79615dfe-ed48-4e74-a40f-4f7b034c1c27" providerId="ADAL" clId="{09C02B11-E0D9-4F5C-A7AC-A38C35D7C045}" dt="2021-03-25T08:19:01.866" v="65" actId="1076"/>
          <ac:spMkLst>
            <pc:docMk/>
            <pc:sldMk cId="1667945532" sldId="306"/>
            <ac:spMk id="28" creationId="{4492A3CD-6943-423D-BFEC-8129889E8B6F}"/>
          </ac:spMkLst>
        </pc:spChg>
        <pc:spChg chg="mod">
          <ac:chgData name="Meyer Raphael (PAR-ES)" userId="79615dfe-ed48-4e74-a40f-4f7b034c1c27" providerId="ADAL" clId="{09C02B11-E0D9-4F5C-A7AC-A38C35D7C045}" dt="2021-03-25T08:13:40.400" v="15" actId="20577"/>
          <ac:spMkLst>
            <pc:docMk/>
            <pc:sldMk cId="1667945532" sldId="306"/>
            <ac:spMk id="31" creationId="{7491A47D-CAD4-478D-8F3A-296FFCB799F9}"/>
          </ac:spMkLst>
        </pc:spChg>
        <pc:spChg chg="mod">
          <ac:chgData name="Meyer Raphael (PAR-ES)" userId="79615dfe-ed48-4e74-a40f-4f7b034c1c27" providerId="ADAL" clId="{09C02B11-E0D9-4F5C-A7AC-A38C35D7C045}" dt="2021-03-25T08:16:32.332" v="46" actId="1076"/>
          <ac:spMkLst>
            <pc:docMk/>
            <pc:sldMk cId="1667945532" sldId="306"/>
            <ac:spMk id="32" creationId="{E65DDA4F-7190-4D5B-B875-6818D18C9F6E}"/>
          </ac:spMkLst>
        </pc:spChg>
        <pc:cxnChg chg="mod">
          <ac:chgData name="Meyer Raphael (PAR-ES)" userId="79615dfe-ed48-4e74-a40f-4f7b034c1c27" providerId="ADAL" clId="{09C02B11-E0D9-4F5C-A7AC-A38C35D7C045}" dt="2021-03-25T08:16:23.020" v="45" actId="1038"/>
          <ac:cxnSpMkLst>
            <pc:docMk/>
            <pc:sldMk cId="1667945532" sldId="306"/>
            <ac:cxnSpMk id="29" creationId="{FD3E902F-283F-48FC-9504-FF2FF4EA4BF0}"/>
          </ac:cxnSpMkLst>
        </pc:cxnChg>
        <pc:cxnChg chg="mod">
          <ac:chgData name="Meyer Raphael (PAR-ES)" userId="79615dfe-ed48-4e74-a40f-4f7b034c1c27" providerId="ADAL" clId="{09C02B11-E0D9-4F5C-A7AC-A38C35D7C045}" dt="2021-03-25T08:19:09.265" v="71" actId="1035"/>
          <ac:cxnSpMkLst>
            <pc:docMk/>
            <pc:sldMk cId="1667945532" sldId="306"/>
            <ac:cxnSpMk id="30" creationId="{1D702FCA-793F-404B-84D5-F14C318BFFB3}"/>
          </ac:cxnSpMkLst>
        </pc:cxnChg>
      </pc:sldChg>
      <pc:sldChg chg="delSp del mod">
        <pc:chgData name="Meyer Raphael (PAR-ES)" userId="79615dfe-ed48-4e74-a40f-4f7b034c1c27" providerId="ADAL" clId="{09C02B11-E0D9-4F5C-A7AC-A38C35D7C045}" dt="2021-03-25T08:21:39.073" v="93" actId="47"/>
        <pc:sldMkLst>
          <pc:docMk/>
          <pc:sldMk cId="1452322066" sldId="338"/>
        </pc:sldMkLst>
        <pc:spChg chg="del">
          <ac:chgData name="Meyer Raphael (PAR-ES)" userId="79615dfe-ed48-4e74-a40f-4f7b034c1c27" providerId="ADAL" clId="{09C02B11-E0D9-4F5C-A7AC-A38C35D7C045}" dt="2021-03-25T08:21:15.791" v="89" actId="478"/>
          <ac:spMkLst>
            <pc:docMk/>
            <pc:sldMk cId="1452322066" sldId="338"/>
            <ac:spMk id="22" creationId="{A4D052E9-A3D0-4D29-96C0-4125FCB1567B}"/>
          </ac:spMkLst>
        </pc:spChg>
        <pc:spChg chg="del">
          <ac:chgData name="Meyer Raphael (PAR-ES)" userId="79615dfe-ed48-4e74-a40f-4f7b034c1c27" providerId="ADAL" clId="{09C02B11-E0D9-4F5C-A7AC-A38C35D7C045}" dt="2021-03-25T08:21:18.409" v="90" actId="478"/>
          <ac:spMkLst>
            <pc:docMk/>
            <pc:sldMk cId="1452322066" sldId="338"/>
            <ac:spMk id="25" creationId="{9772D52D-035A-4D28-AE3A-4F5DD2C31620}"/>
          </ac:spMkLst>
        </pc:spChg>
      </pc:sldChg>
      <pc:sldChg chg="del">
        <pc:chgData name="Meyer Raphael (PAR-ES)" userId="79615dfe-ed48-4e74-a40f-4f7b034c1c27" providerId="ADAL" clId="{09C02B11-E0D9-4F5C-A7AC-A38C35D7C045}" dt="2021-03-25T08:23:58.620" v="108" actId="47"/>
        <pc:sldMkLst>
          <pc:docMk/>
          <pc:sldMk cId="4038211066" sldId="339"/>
        </pc:sldMkLst>
      </pc:sldChg>
      <pc:sldChg chg="addSp delSp modSp add mod ord">
        <pc:chgData name="Meyer Raphael (PAR-ES)" userId="79615dfe-ed48-4e74-a40f-4f7b034c1c27" providerId="ADAL" clId="{09C02B11-E0D9-4F5C-A7AC-A38C35D7C045}" dt="2021-03-25T08:21:12.124" v="88" actId="478"/>
        <pc:sldMkLst>
          <pc:docMk/>
          <pc:sldMk cId="205331994" sldId="340"/>
        </pc:sldMkLst>
        <pc:spChg chg="mod">
          <ac:chgData name="Meyer Raphael (PAR-ES)" userId="79615dfe-ed48-4e74-a40f-4f7b034c1c27" providerId="ADAL" clId="{09C02B11-E0D9-4F5C-A7AC-A38C35D7C045}" dt="2021-03-25T08:20:20.906" v="80"/>
          <ac:spMkLst>
            <pc:docMk/>
            <pc:sldMk cId="205331994" sldId="340"/>
            <ac:spMk id="2" creationId="{A2DC317F-F1F4-4624-8FC1-3B68C1DBB3DA}"/>
          </ac:spMkLst>
        </pc:spChg>
        <pc:spChg chg="del">
          <ac:chgData name="Meyer Raphael (PAR-ES)" userId="79615dfe-ed48-4e74-a40f-4f7b034c1c27" providerId="ADAL" clId="{09C02B11-E0D9-4F5C-A7AC-A38C35D7C045}" dt="2021-03-25T08:20:00.473" v="78" actId="478"/>
          <ac:spMkLst>
            <pc:docMk/>
            <pc:sldMk cId="205331994" sldId="340"/>
            <ac:spMk id="7" creationId="{BA3F9A72-0541-4D1F-8CD8-1C2B8074FA1B}"/>
          </ac:spMkLst>
        </pc:spChg>
        <pc:spChg chg="mod">
          <ac:chgData name="Meyer Raphael (PAR-ES)" userId="79615dfe-ed48-4e74-a40f-4f7b034c1c27" providerId="ADAL" clId="{09C02B11-E0D9-4F5C-A7AC-A38C35D7C045}" dt="2021-03-25T08:20:39.760" v="83" actId="14100"/>
          <ac:spMkLst>
            <pc:docMk/>
            <pc:sldMk cId="205331994" sldId="340"/>
            <ac:spMk id="8" creationId="{5857C2A1-2CB8-4D4A-AEFD-E809BF73D04F}"/>
          </ac:spMkLst>
        </pc:spChg>
        <pc:spChg chg="del">
          <ac:chgData name="Meyer Raphael (PAR-ES)" userId="79615dfe-ed48-4e74-a40f-4f7b034c1c27" providerId="ADAL" clId="{09C02B11-E0D9-4F5C-A7AC-A38C35D7C045}" dt="2021-03-25T08:20:00.473" v="78" actId="478"/>
          <ac:spMkLst>
            <pc:docMk/>
            <pc:sldMk cId="205331994" sldId="340"/>
            <ac:spMk id="9" creationId="{B6990B61-32B2-4ADC-BF01-EDF7B4080F97}"/>
          </ac:spMkLst>
        </pc:spChg>
        <pc:spChg chg="mod">
          <ac:chgData name="Meyer Raphael (PAR-ES)" userId="79615dfe-ed48-4e74-a40f-4f7b034c1c27" providerId="ADAL" clId="{09C02B11-E0D9-4F5C-A7AC-A38C35D7C045}" dt="2021-03-25T08:20:29.282" v="81"/>
          <ac:spMkLst>
            <pc:docMk/>
            <pc:sldMk cId="205331994" sldId="340"/>
            <ac:spMk id="10" creationId="{077DFD58-E5EE-4B68-9325-D935DB04DD40}"/>
          </ac:spMkLst>
        </pc:spChg>
        <pc:spChg chg="del">
          <ac:chgData name="Meyer Raphael (PAR-ES)" userId="79615dfe-ed48-4e74-a40f-4f7b034c1c27" providerId="ADAL" clId="{09C02B11-E0D9-4F5C-A7AC-A38C35D7C045}" dt="2021-03-25T08:20:00.473" v="78" actId="478"/>
          <ac:spMkLst>
            <pc:docMk/>
            <pc:sldMk cId="205331994" sldId="340"/>
            <ac:spMk id="17" creationId="{785E740C-F94A-4208-8DFD-63A603C16577}"/>
          </ac:spMkLst>
        </pc:spChg>
        <pc:spChg chg="del">
          <ac:chgData name="Meyer Raphael (PAR-ES)" userId="79615dfe-ed48-4e74-a40f-4f7b034c1c27" providerId="ADAL" clId="{09C02B11-E0D9-4F5C-A7AC-A38C35D7C045}" dt="2021-03-25T08:21:12.124" v="88" actId="478"/>
          <ac:spMkLst>
            <pc:docMk/>
            <pc:sldMk cId="205331994" sldId="340"/>
            <ac:spMk id="22" creationId="{A4D052E9-A3D0-4D29-96C0-4125FCB1567B}"/>
          </ac:spMkLst>
        </pc:spChg>
        <pc:spChg chg="add mod">
          <ac:chgData name="Meyer Raphael (PAR-ES)" userId="79615dfe-ed48-4e74-a40f-4f7b034c1c27" providerId="ADAL" clId="{09C02B11-E0D9-4F5C-A7AC-A38C35D7C045}" dt="2021-03-25T08:20:10.413" v="79"/>
          <ac:spMkLst>
            <pc:docMk/>
            <pc:sldMk cId="205331994" sldId="340"/>
            <ac:spMk id="23" creationId="{59A67176-9DA6-430B-BB64-139CEB214D04}"/>
          </ac:spMkLst>
        </pc:spChg>
        <pc:spChg chg="del">
          <ac:chgData name="Meyer Raphael (PAR-ES)" userId="79615dfe-ed48-4e74-a40f-4f7b034c1c27" providerId="ADAL" clId="{09C02B11-E0D9-4F5C-A7AC-A38C35D7C045}" dt="2021-03-25T08:21:04.878" v="85" actId="478"/>
          <ac:spMkLst>
            <pc:docMk/>
            <pc:sldMk cId="205331994" sldId="340"/>
            <ac:spMk id="25" creationId="{9772D52D-035A-4D28-AE3A-4F5DD2C31620}"/>
          </ac:spMkLst>
        </pc:spChg>
        <pc:spChg chg="del">
          <ac:chgData name="Meyer Raphael (PAR-ES)" userId="79615dfe-ed48-4e74-a40f-4f7b034c1c27" providerId="ADAL" clId="{09C02B11-E0D9-4F5C-A7AC-A38C35D7C045}" dt="2021-03-25T08:20:00.473" v="78" actId="478"/>
          <ac:spMkLst>
            <pc:docMk/>
            <pc:sldMk cId="205331994" sldId="340"/>
            <ac:spMk id="26" creationId="{BFD498B5-D73E-4C8A-9FAF-B3547647538C}"/>
          </ac:spMkLst>
        </pc:spChg>
        <pc:spChg chg="mod">
          <ac:chgData name="Meyer Raphael (PAR-ES)" userId="79615dfe-ed48-4e74-a40f-4f7b034c1c27" providerId="ADAL" clId="{09C02B11-E0D9-4F5C-A7AC-A38C35D7C045}" dt="2021-03-25T08:20:48.672" v="84"/>
          <ac:spMkLst>
            <pc:docMk/>
            <pc:sldMk cId="205331994" sldId="340"/>
            <ac:spMk id="27" creationId="{46A6B042-39EE-4A58-BBAA-13D52264B660}"/>
          </ac:spMkLst>
        </pc:spChg>
        <pc:spChg chg="add mod">
          <ac:chgData name="Meyer Raphael (PAR-ES)" userId="79615dfe-ed48-4e74-a40f-4f7b034c1c27" providerId="ADAL" clId="{09C02B11-E0D9-4F5C-A7AC-A38C35D7C045}" dt="2021-03-25T08:20:10.413" v="79"/>
          <ac:spMkLst>
            <pc:docMk/>
            <pc:sldMk cId="205331994" sldId="340"/>
            <ac:spMk id="33" creationId="{A91A7DD2-F0E0-4917-8199-B69F319F5B11}"/>
          </ac:spMkLst>
        </pc:spChg>
        <pc:spChg chg="add mod">
          <ac:chgData name="Meyer Raphael (PAR-ES)" userId="79615dfe-ed48-4e74-a40f-4f7b034c1c27" providerId="ADAL" clId="{09C02B11-E0D9-4F5C-A7AC-A38C35D7C045}" dt="2021-03-25T08:20:10.413" v="79"/>
          <ac:spMkLst>
            <pc:docMk/>
            <pc:sldMk cId="205331994" sldId="340"/>
            <ac:spMk id="36" creationId="{843A69D3-E1DE-4DAF-944A-4E83B41DC05F}"/>
          </ac:spMkLst>
        </pc:spChg>
        <pc:spChg chg="add mod">
          <ac:chgData name="Meyer Raphael (PAR-ES)" userId="79615dfe-ed48-4e74-a40f-4f7b034c1c27" providerId="ADAL" clId="{09C02B11-E0D9-4F5C-A7AC-A38C35D7C045}" dt="2021-03-25T08:20:10.413" v="79"/>
          <ac:spMkLst>
            <pc:docMk/>
            <pc:sldMk cId="205331994" sldId="340"/>
            <ac:spMk id="37" creationId="{8C979AD3-8E6B-4004-8657-758C0B3D62CF}"/>
          </ac:spMkLst>
        </pc:spChg>
        <pc:graphicFrameChg chg="mod">
          <ac:chgData name="Meyer Raphael (PAR-ES)" userId="79615dfe-ed48-4e74-a40f-4f7b034c1c27" providerId="ADAL" clId="{09C02B11-E0D9-4F5C-A7AC-A38C35D7C045}" dt="2021-03-25T08:21:09.464" v="87" actId="1076"/>
          <ac:graphicFrameMkLst>
            <pc:docMk/>
            <pc:sldMk cId="205331994" sldId="340"/>
            <ac:graphicFrameMk id="5" creationId="{4CF6AB8B-CAB9-4C7E-8E59-E00357A4D7F0}"/>
          </ac:graphicFrameMkLst>
        </pc:graphicFrameChg>
      </pc:sldChg>
      <pc:sldChg chg="addSp delSp modSp add mod ord">
        <pc:chgData name="Meyer Raphael (PAR-ES)" userId="79615dfe-ed48-4e74-a40f-4f7b034c1c27" providerId="ADAL" clId="{09C02B11-E0D9-4F5C-A7AC-A38C35D7C045}" dt="2021-03-25T08:23:56.416" v="107" actId="478"/>
        <pc:sldMkLst>
          <pc:docMk/>
          <pc:sldMk cId="3020850231" sldId="341"/>
        </pc:sldMkLst>
        <pc:spChg chg="mod">
          <ac:chgData name="Meyer Raphael (PAR-ES)" userId="79615dfe-ed48-4e74-a40f-4f7b034c1c27" providerId="ADAL" clId="{09C02B11-E0D9-4F5C-A7AC-A38C35D7C045}" dt="2021-03-25T08:23:18.133" v="102"/>
          <ac:spMkLst>
            <pc:docMk/>
            <pc:sldMk cId="3020850231" sldId="341"/>
            <ac:spMk id="2" creationId="{A2DC317F-F1F4-4624-8FC1-3B68C1DBB3DA}"/>
          </ac:spMkLst>
        </pc:spChg>
        <pc:spChg chg="del">
          <ac:chgData name="Meyer Raphael (PAR-ES)" userId="79615dfe-ed48-4e74-a40f-4f7b034c1c27" providerId="ADAL" clId="{09C02B11-E0D9-4F5C-A7AC-A38C35D7C045}" dt="2021-03-25T08:22:07.481" v="94" actId="478"/>
          <ac:spMkLst>
            <pc:docMk/>
            <pc:sldMk cId="3020850231" sldId="341"/>
            <ac:spMk id="7" creationId="{BA3F9A72-0541-4D1F-8CD8-1C2B8074FA1B}"/>
          </ac:spMkLst>
        </pc:spChg>
        <pc:spChg chg="mod">
          <ac:chgData name="Meyer Raphael (PAR-ES)" userId="79615dfe-ed48-4e74-a40f-4f7b034c1c27" providerId="ADAL" clId="{09C02B11-E0D9-4F5C-A7AC-A38C35D7C045}" dt="2021-03-25T08:22:53.478" v="99" actId="14100"/>
          <ac:spMkLst>
            <pc:docMk/>
            <pc:sldMk cId="3020850231" sldId="341"/>
            <ac:spMk id="8" creationId="{5857C2A1-2CB8-4D4A-AEFD-E809BF73D04F}"/>
          </ac:spMkLst>
        </pc:spChg>
        <pc:spChg chg="del">
          <ac:chgData name="Meyer Raphael (PAR-ES)" userId="79615dfe-ed48-4e74-a40f-4f7b034c1c27" providerId="ADAL" clId="{09C02B11-E0D9-4F5C-A7AC-A38C35D7C045}" dt="2021-03-25T08:22:07.481" v="94" actId="478"/>
          <ac:spMkLst>
            <pc:docMk/>
            <pc:sldMk cId="3020850231" sldId="341"/>
            <ac:spMk id="9" creationId="{B6990B61-32B2-4ADC-BF01-EDF7B4080F97}"/>
          </ac:spMkLst>
        </pc:spChg>
        <pc:spChg chg="mod">
          <ac:chgData name="Meyer Raphael (PAR-ES)" userId="79615dfe-ed48-4e74-a40f-4f7b034c1c27" providerId="ADAL" clId="{09C02B11-E0D9-4F5C-A7AC-A38C35D7C045}" dt="2021-03-25T08:23:25.645" v="103"/>
          <ac:spMkLst>
            <pc:docMk/>
            <pc:sldMk cId="3020850231" sldId="341"/>
            <ac:spMk id="10" creationId="{077DFD58-E5EE-4B68-9325-D935DB04DD40}"/>
          </ac:spMkLst>
        </pc:spChg>
        <pc:spChg chg="del">
          <ac:chgData name="Meyer Raphael (PAR-ES)" userId="79615dfe-ed48-4e74-a40f-4f7b034c1c27" providerId="ADAL" clId="{09C02B11-E0D9-4F5C-A7AC-A38C35D7C045}" dt="2021-03-25T08:22:07.481" v="94" actId="478"/>
          <ac:spMkLst>
            <pc:docMk/>
            <pc:sldMk cId="3020850231" sldId="341"/>
            <ac:spMk id="17" creationId="{785E740C-F94A-4208-8DFD-63A603C16577}"/>
          </ac:spMkLst>
        </pc:spChg>
        <pc:spChg chg="add del">
          <ac:chgData name="Meyer Raphael (PAR-ES)" userId="79615dfe-ed48-4e74-a40f-4f7b034c1c27" providerId="ADAL" clId="{09C02B11-E0D9-4F5C-A7AC-A38C35D7C045}" dt="2021-03-25T08:23:55.215" v="106" actId="478"/>
          <ac:spMkLst>
            <pc:docMk/>
            <pc:sldMk cId="3020850231" sldId="341"/>
            <ac:spMk id="22" creationId="{A4D052E9-A3D0-4D29-96C0-4125FCB1567B}"/>
          </ac:spMkLst>
        </pc:spChg>
        <pc:spChg chg="add mod">
          <ac:chgData name="Meyer Raphael (PAR-ES)" userId="79615dfe-ed48-4e74-a40f-4f7b034c1c27" providerId="ADAL" clId="{09C02B11-E0D9-4F5C-A7AC-A38C35D7C045}" dt="2021-03-25T08:22:37.404" v="95"/>
          <ac:spMkLst>
            <pc:docMk/>
            <pc:sldMk cId="3020850231" sldId="341"/>
            <ac:spMk id="23" creationId="{372C58F4-D606-430A-AB2B-5690A120C6AE}"/>
          </ac:spMkLst>
        </pc:spChg>
        <pc:spChg chg="del">
          <ac:chgData name="Meyer Raphael (PAR-ES)" userId="79615dfe-ed48-4e74-a40f-4f7b034c1c27" providerId="ADAL" clId="{09C02B11-E0D9-4F5C-A7AC-A38C35D7C045}" dt="2021-03-25T08:23:56.416" v="107" actId="478"/>
          <ac:spMkLst>
            <pc:docMk/>
            <pc:sldMk cId="3020850231" sldId="341"/>
            <ac:spMk id="25" creationId="{9772D52D-035A-4D28-AE3A-4F5DD2C31620}"/>
          </ac:spMkLst>
        </pc:spChg>
        <pc:spChg chg="del">
          <ac:chgData name="Meyer Raphael (PAR-ES)" userId="79615dfe-ed48-4e74-a40f-4f7b034c1c27" providerId="ADAL" clId="{09C02B11-E0D9-4F5C-A7AC-A38C35D7C045}" dt="2021-03-25T08:22:07.481" v="94" actId="478"/>
          <ac:spMkLst>
            <pc:docMk/>
            <pc:sldMk cId="3020850231" sldId="341"/>
            <ac:spMk id="26" creationId="{BFD498B5-D73E-4C8A-9FAF-B3547647538C}"/>
          </ac:spMkLst>
        </pc:spChg>
        <pc:spChg chg="mod">
          <ac:chgData name="Meyer Raphael (PAR-ES)" userId="79615dfe-ed48-4e74-a40f-4f7b034c1c27" providerId="ADAL" clId="{09C02B11-E0D9-4F5C-A7AC-A38C35D7C045}" dt="2021-03-25T08:23:09.999" v="101" actId="14100"/>
          <ac:spMkLst>
            <pc:docMk/>
            <pc:sldMk cId="3020850231" sldId="341"/>
            <ac:spMk id="27" creationId="{46A6B042-39EE-4A58-BBAA-13D52264B660}"/>
          </ac:spMkLst>
        </pc:spChg>
        <pc:spChg chg="add mod">
          <ac:chgData name="Meyer Raphael (PAR-ES)" userId="79615dfe-ed48-4e74-a40f-4f7b034c1c27" providerId="ADAL" clId="{09C02B11-E0D9-4F5C-A7AC-A38C35D7C045}" dt="2021-03-25T08:22:37.404" v="95"/>
          <ac:spMkLst>
            <pc:docMk/>
            <pc:sldMk cId="3020850231" sldId="341"/>
            <ac:spMk id="33" creationId="{01D9B100-2B8B-40ED-8AC9-B55B4F6BB594}"/>
          </ac:spMkLst>
        </pc:spChg>
        <pc:spChg chg="add mod">
          <ac:chgData name="Meyer Raphael (PAR-ES)" userId="79615dfe-ed48-4e74-a40f-4f7b034c1c27" providerId="ADAL" clId="{09C02B11-E0D9-4F5C-A7AC-A38C35D7C045}" dt="2021-03-25T08:22:37.404" v="95"/>
          <ac:spMkLst>
            <pc:docMk/>
            <pc:sldMk cId="3020850231" sldId="341"/>
            <ac:spMk id="36" creationId="{3648375E-176D-41A3-8448-F5E94855D27D}"/>
          </ac:spMkLst>
        </pc:spChg>
        <pc:spChg chg="add mod">
          <ac:chgData name="Meyer Raphael (PAR-ES)" userId="79615dfe-ed48-4e74-a40f-4f7b034c1c27" providerId="ADAL" clId="{09C02B11-E0D9-4F5C-A7AC-A38C35D7C045}" dt="2021-03-25T08:22:37.404" v="95"/>
          <ac:spMkLst>
            <pc:docMk/>
            <pc:sldMk cId="3020850231" sldId="341"/>
            <ac:spMk id="37" creationId="{BAD0B686-0200-4A14-A3F8-A0B4DB338F4E}"/>
          </ac:spMkLst>
        </pc:spChg>
      </pc:sldChg>
    </pc:docChg>
  </pc:docChgLst>
  <pc:docChgLst>
    <pc:chgData name="Weigel Stefan (PAR-ES)" userId="fd3b2067-2981-4ad8-bf3a-d2e1004e4fa8" providerId="ADAL" clId="{C0405663-4E24-43A1-9C0F-378072DDAC97}"/>
    <pc:docChg chg="modSld">
      <pc:chgData name="Weigel Stefan (PAR-ES)" userId="fd3b2067-2981-4ad8-bf3a-d2e1004e4fa8" providerId="ADAL" clId="{C0405663-4E24-43A1-9C0F-378072DDAC97}" dt="2021-06-04T09:30:49.166" v="166" actId="1038"/>
      <pc:docMkLst>
        <pc:docMk/>
      </pc:docMkLst>
      <pc:sldChg chg="modSp mod">
        <pc:chgData name="Weigel Stefan (PAR-ES)" userId="fd3b2067-2981-4ad8-bf3a-d2e1004e4fa8" providerId="ADAL" clId="{C0405663-4E24-43A1-9C0F-378072DDAC97}" dt="2021-06-04T09:26:35.865" v="141" actId="27918"/>
        <pc:sldMkLst>
          <pc:docMk/>
          <pc:sldMk cId="1667945532" sldId="306"/>
        </pc:sldMkLst>
        <pc:spChg chg="mod">
          <ac:chgData name="Weigel Stefan (PAR-ES)" userId="fd3b2067-2981-4ad8-bf3a-d2e1004e4fa8" providerId="ADAL" clId="{C0405663-4E24-43A1-9C0F-378072DDAC97}" dt="2021-06-04T09:15:17.854" v="9" actId="20577"/>
          <ac:spMkLst>
            <pc:docMk/>
            <pc:sldMk cId="1667945532" sldId="306"/>
            <ac:spMk id="8" creationId="{5857C2A1-2CB8-4D4A-AEFD-E809BF73D04F}"/>
          </ac:spMkLst>
        </pc:spChg>
        <pc:spChg chg="mod">
          <ac:chgData name="Weigel Stefan (PAR-ES)" userId="fd3b2067-2981-4ad8-bf3a-d2e1004e4fa8" providerId="ADAL" clId="{C0405663-4E24-43A1-9C0F-378072DDAC97}" dt="2021-06-04T09:15:37.763" v="15" actId="20577"/>
          <ac:spMkLst>
            <pc:docMk/>
            <pc:sldMk cId="1667945532" sldId="306"/>
            <ac:spMk id="27" creationId="{46A6B042-39EE-4A58-BBAA-13D52264B660}"/>
          </ac:spMkLst>
        </pc:spChg>
        <pc:spChg chg="mod">
          <ac:chgData name="Weigel Stefan (PAR-ES)" userId="fd3b2067-2981-4ad8-bf3a-d2e1004e4fa8" providerId="ADAL" clId="{C0405663-4E24-43A1-9C0F-378072DDAC97}" dt="2021-06-04T09:19:54.598" v="62" actId="1038"/>
          <ac:spMkLst>
            <pc:docMk/>
            <pc:sldMk cId="1667945532" sldId="306"/>
            <ac:spMk id="28" creationId="{4492A3CD-6943-423D-BFEC-8129889E8B6F}"/>
          </ac:spMkLst>
        </pc:spChg>
        <pc:spChg chg="mod">
          <ac:chgData name="Weigel Stefan (PAR-ES)" userId="fd3b2067-2981-4ad8-bf3a-d2e1004e4fa8" providerId="ADAL" clId="{C0405663-4E24-43A1-9C0F-378072DDAC97}" dt="2021-06-04T09:15:47.449" v="21" actId="20577"/>
          <ac:spMkLst>
            <pc:docMk/>
            <pc:sldMk cId="1667945532" sldId="306"/>
            <ac:spMk id="31" creationId="{7491A47D-CAD4-478D-8F3A-296FFCB799F9}"/>
          </ac:spMkLst>
        </pc:spChg>
        <pc:spChg chg="mod">
          <ac:chgData name="Weigel Stefan (PAR-ES)" userId="fd3b2067-2981-4ad8-bf3a-d2e1004e4fa8" providerId="ADAL" clId="{C0405663-4E24-43A1-9C0F-378072DDAC97}" dt="2021-06-04T09:26:09.030" v="137" actId="1037"/>
          <ac:spMkLst>
            <pc:docMk/>
            <pc:sldMk cId="1667945532" sldId="306"/>
            <ac:spMk id="32" creationId="{E65DDA4F-7190-4D5B-B875-6818D18C9F6E}"/>
          </ac:spMkLst>
        </pc:spChg>
        <pc:cxnChg chg="mod">
          <ac:chgData name="Weigel Stefan (PAR-ES)" userId="fd3b2067-2981-4ad8-bf3a-d2e1004e4fa8" providerId="ADAL" clId="{C0405663-4E24-43A1-9C0F-378072DDAC97}" dt="2021-06-04T09:18:50.133" v="42" actId="1038"/>
          <ac:cxnSpMkLst>
            <pc:docMk/>
            <pc:sldMk cId="1667945532" sldId="306"/>
            <ac:cxnSpMk id="20" creationId="{07FCC63F-5E2F-43DF-84ED-5FFEC92A0042}"/>
          </ac:cxnSpMkLst>
        </pc:cxnChg>
      </pc:sldChg>
      <pc:sldChg chg="modSp mod">
        <pc:chgData name="Weigel Stefan (PAR-ES)" userId="fd3b2067-2981-4ad8-bf3a-d2e1004e4fa8" providerId="ADAL" clId="{C0405663-4E24-43A1-9C0F-378072DDAC97}" dt="2021-06-04T09:30:20.868" v="163" actId="1037"/>
        <pc:sldMkLst>
          <pc:docMk/>
          <pc:sldMk cId="1357620443" sldId="359"/>
        </pc:sldMkLst>
        <pc:spChg chg="mod">
          <ac:chgData name="Weigel Stefan (PAR-ES)" userId="fd3b2067-2981-4ad8-bf3a-d2e1004e4fa8" providerId="ADAL" clId="{C0405663-4E24-43A1-9C0F-378072DDAC97}" dt="2021-06-04T09:21:15.824" v="81" actId="20577"/>
          <ac:spMkLst>
            <pc:docMk/>
            <pc:sldMk cId="1357620443" sldId="359"/>
            <ac:spMk id="8" creationId="{5857C2A1-2CB8-4D4A-AEFD-E809BF73D04F}"/>
          </ac:spMkLst>
        </pc:spChg>
        <pc:spChg chg="mod">
          <ac:chgData name="Weigel Stefan (PAR-ES)" userId="fd3b2067-2981-4ad8-bf3a-d2e1004e4fa8" providerId="ADAL" clId="{C0405663-4E24-43A1-9C0F-378072DDAC97}" dt="2021-06-04T09:22:17.488" v="100" actId="20577"/>
          <ac:spMkLst>
            <pc:docMk/>
            <pc:sldMk cId="1357620443" sldId="359"/>
            <ac:spMk id="27" creationId="{46A6B042-39EE-4A58-BBAA-13D52264B660}"/>
          </ac:spMkLst>
        </pc:spChg>
        <pc:spChg chg="mod">
          <ac:chgData name="Weigel Stefan (PAR-ES)" userId="fd3b2067-2981-4ad8-bf3a-d2e1004e4fa8" providerId="ADAL" clId="{C0405663-4E24-43A1-9C0F-378072DDAC97}" dt="2021-06-04T09:20:58.968" v="79" actId="1038"/>
          <ac:spMkLst>
            <pc:docMk/>
            <pc:sldMk cId="1357620443" sldId="359"/>
            <ac:spMk id="28" creationId="{4492A3CD-6943-423D-BFEC-8129889E8B6F}"/>
          </ac:spMkLst>
        </pc:spChg>
        <pc:spChg chg="mod">
          <ac:chgData name="Weigel Stefan (PAR-ES)" userId="fd3b2067-2981-4ad8-bf3a-d2e1004e4fa8" providerId="ADAL" clId="{C0405663-4E24-43A1-9C0F-378072DDAC97}" dt="2021-06-04T09:21:40.109" v="95" actId="20577"/>
          <ac:spMkLst>
            <pc:docMk/>
            <pc:sldMk cId="1357620443" sldId="359"/>
            <ac:spMk id="31" creationId="{7491A47D-CAD4-478D-8F3A-296FFCB799F9}"/>
          </ac:spMkLst>
        </pc:spChg>
        <pc:spChg chg="mod">
          <ac:chgData name="Weigel Stefan (PAR-ES)" userId="fd3b2067-2981-4ad8-bf3a-d2e1004e4fa8" providerId="ADAL" clId="{C0405663-4E24-43A1-9C0F-378072DDAC97}" dt="2021-06-04T09:30:20.868" v="163" actId="1037"/>
          <ac:spMkLst>
            <pc:docMk/>
            <pc:sldMk cId="1357620443" sldId="359"/>
            <ac:spMk id="32" creationId="{E65DDA4F-7190-4D5B-B875-6818D18C9F6E}"/>
          </ac:spMkLst>
        </pc:spChg>
        <pc:cxnChg chg="mod">
          <ac:chgData name="Weigel Stefan (PAR-ES)" userId="fd3b2067-2981-4ad8-bf3a-d2e1004e4fa8" providerId="ADAL" clId="{C0405663-4E24-43A1-9C0F-378072DDAC97}" dt="2021-06-04T09:21:19.355" v="85" actId="1038"/>
          <ac:cxnSpMkLst>
            <pc:docMk/>
            <pc:sldMk cId="1357620443" sldId="359"/>
            <ac:cxnSpMk id="20" creationId="{07FCC63F-5E2F-43DF-84ED-5FFEC92A0042}"/>
          </ac:cxnSpMkLst>
        </pc:cxnChg>
      </pc:sldChg>
      <pc:sldChg chg="modSp mod">
        <pc:chgData name="Weigel Stefan (PAR-ES)" userId="fd3b2067-2981-4ad8-bf3a-d2e1004e4fa8" providerId="ADAL" clId="{C0405663-4E24-43A1-9C0F-378072DDAC97}" dt="2021-06-04T09:30:49.166" v="166" actId="1038"/>
        <pc:sldMkLst>
          <pc:docMk/>
          <pc:sldMk cId="2316055797" sldId="360"/>
        </pc:sldMkLst>
        <pc:spChg chg="mod">
          <ac:chgData name="Weigel Stefan (PAR-ES)" userId="fd3b2067-2981-4ad8-bf3a-d2e1004e4fa8" providerId="ADAL" clId="{C0405663-4E24-43A1-9C0F-378072DDAC97}" dt="2021-06-04T09:22:51.226" v="102" actId="20577"/>
          <ac:spMkLst>
            <pc:docMk/>
            <pc:sldMk cId="2316055797" sldId="360"/>
            <ac:spMk id="8" creationId="{5857C2A1-2CB8-4D4A-AEFD-E809BF73D04F}"/>
          </ac:spMkLst>
        </pc:spChg>
        <pc:spChg chg="mod">
          <ac:chgData name="Weigel Stefan (PAR-ES)" userId="fd3b2067-2981-4ad8-bf3a-d2e1004e4fa8" providerId="ADAL" clId="{C0405663-4E24-43A1-9C0F-378072DDAC97}" dt="2021-06-04T09:23:00.818" v="108" actId="20577"/>
          <ac:spMkLst>
            <pc:docMk/>
            <pc:sldMk cId="2316055797" sldId="360"/>
            <ac:spMk id="27" creationId="{46A6B042-39EE-4A58-BBAA-13D52264B660}"/>
          </ac:spMkLst>
        </pc:spChg>
        <pc:spChg chg="mod">
          <ac:chgData name="Weigel Stefan (PAR-ES)" userId="fd3b2067-2981-4ad8-bf3a-d2e1004e4fa8" providerId="ADAL" clId="{C0405663-4E24-43A1-9C0F-378072DDAC97}" dt="2021-06-04T09:23:16.087" v="122" actId="1038"/>
          <ac:spMkLst>
            <pc:docMk/>
            <pc:sldMk cId="2316055797" sldId="360"/>
            <ac:spMk id="28" creationId="{4492A3CD-6943-423D-BFEC-8129889E8B6F}"/>
          </ac:spMkLst>
        </pc:spChg>
        <pc:spChg chg="mod">
          <ac:chgData name="Weigel Stefan (PAR-ES)" userId="fd3b2067-2981-4ad8-bf3a-d2e1004e4fa8" providerId="ADAL" clId="{C0405663-4E24-43A1-9C0F-378072DDAC97}" dt="2021-06-04T09:29:53.297" v="161" actId="20577"/>
          <ac:spMkLst>
            <pc:docMk/>
            <pc:sldMk cId="2316055797" sldId="360"/>
            <ac:spMk id="31" creationId="{7491A47D-CAD4-478D-8F3A-296FFCB799F9}"/>
          </ac:spMkLst>
        </pc:spChg>
        <pc:spChg chg="mod">
          <ac:chgData name="Weigel Stefan (PAR-ES)" userId="fd3b2067-2981-4ad8-bf3a-d2e1004e4fa8" providerId="ADAL" clId="{C0405663-4E24-43A1-9C0F-378072DDAC97}" dt="2021-06-04T09:30:27.755" v="164" actId="1037"/>
          <ac:spMkLst>
            <pc:docMk/>
            <pc:sldMk cId="2316055797" sldId="360"/>
            <ac:spMk id="32" creationId="{E65DDA4F-7190-4D5B-B875-6818D18C9F6E}"/>
          </ac:spMkLst>
        </pc:spChg>
        <pc:cxnChg chg="mod">
          <ac:chgData name="Weigel Stefan (PAR-ES)" userId="fd3b2067-2981-4ad8-bf3a-d2e1004e4fa8" providerId="ADAL" clId="{C0405663-4E24-43A1-9C0F-378072DDAC97}" dt="2021-06-04T09:30:49.166" v="166" actId="1038"/>
          <ac:cxnSpMkLst>
            <pc:docMk/>
            <pc:sldMk cId="2316055797" sldId="360"/>
            <ac:cxnSpMk id="20" creationId="{07FCC63F-5E2F-43DF-84ED-5FFEC92A0042}"/>
          </ac:cxnSpMkLst>
        </pc:cxnChg>
      </pc:sldChg>
    </pc:docChg>
  </pc:docChgLst>
  <pc:docChgLst>
    <pc:chgData name="Meyer Raphael (PAR-ES)" userId="79615dfe-ed48-4e74-a40f-4f7b034c1c27" providerId="ADAL" clId="{4F219964-ECFF-451B-954E-AFA60EFA114B}"/>
    <pc:docChg chg="custSel addSld delSld modSld sldOrd">
      <pc:chgData name="Meyer Raphael (PAR-ES)" userId="79615dfe-ed48-4e74-a40f-4f7b034c1c27" providerId="ADAL" clId="{4F219964-ECFF-451B-954E-AFA60EFA114B}" dt="2021-05-17T07:13:17.952" v="117" actId="2696"/>
      <pc:docMkLst>
        <pc:docMk/>
      </pc:docMkLst>
      <pc:sldChg chg="modSp mod">
        <pc:chgData name="Meyer Raphael (PAR-ES)" userId="79615dfe-ed48-4e74-a40f-4f7b034c1c27" providerId="ADAL" clId="{4F219964-ECFF-451B-954E-AFA60EFA114B}" dt="2021-05-17T07:10:28.099" v="91" actId="1036"/>
        <pc:sldMkLst>
          <pc:docMk/>
          <pc:sldMk cId="1667945532" sldId="306"/>
        </pc:sldMkLst>
        <pc:spChg chg="mod">
          <ac:chgData name="Meyer Raphael (PAR-ES)" userId="79615dfe-ed48-4e74-a40f-4f7b034c1c27" providerId="ADAL" clId="{4F219964-ECFF-451B-954E-AFA60EFA114B}" dt="2021-05-17T07:04:46.125" v="1" actId="20577"/>
          <ac:spMkLst>
            <pc:docMk/>
            <pc:sldMk cId="1667945532" sldId="306"/>
            <ac:spMk id="8" creationId="{5857C2A1-2CB8-4D4A-AEFD-E809BF73D04F}"/>
          </ac:spMkLst>
        </pc:spChg>
        <pc:spChg chg="mod">
          <ac:chgData name="Meyer Raphael (PAR-ES)" userId="79615dfe-ed48-4e74-a40f-4f7b034c1c27" providerId="ADAL" clId="{4F219964-ECFF-451B-954E-AFA60EFA114B}" dt="2021-05-17T07:05:12.892" v="21" actId="20577"/>
          <ac:spMkLst>
            <pc:docMk/>
            <pc:sldMk cId="1667945532" sldId="306"/>
            <ac:spMk id="27" creationId="{46A6B042-39EE-4A58-BBAA-13D52264B660}"/>
          </ac:spMkLst>
        </pc:spChg>
        <pc:spChg chg="mod">
          <ac:chgData name="Meyer Raphael (PAR-ES)" userId="79615dfe-ed48-4e74-a40f-4f7b034c1c27" providerId="ADAL" clId="{4F219964-ECFF-451B-954E-AFA60EFA114B}" dt="2021-05-17T07:10:28.099" v="91" actId="1036"/>
          <ac:spMkLst>
            <pc:docMk/>
            <pc:sldMk cId="1667945532" sldId="306"/>
            <ac:spMk id="28" creationId="{4492A3CD-6943-423D-BFEC-8129889E8B6F}"/>
          </ac:spMkLst>
        </pc:spChg>
        <pc:spChg chg="mod">
          <ac:chgData name="Meyer Raphael (PAR-ES)" userId="79615dfe-ed48-4e74-a40f-4f7b034c1c27" providerId="ADAL" clId="{4F219964-ECFF-451B-954E-AFA60EFA114B}" dt="2021-05-17T07:05:28.578" v="29" actId="20577"/>
          <ac:spMkLst>
            <pc:docMk/>
            <pc:sldMk cId="1667945532" sldId="306"/>
            <ac:spMk id="31" creationId="{7491A47D-CAD4-478D-8F3A-296FFCB799F9}"/>
          </ac:spMkLst>
        </pc:spChg>
        <pc:spChg chg="mod">
          <ac:chgData name="Meyer Raphael (PAR-ES)" userId="79615dfe-ed48-4e74-a40f-4f7b034c1c27" providerId="ADAL" clId="{4F219964-ECFF-451B-954E-AFA60EFA114B}" dt="2021-05-17T07:07:12.088" v="60" actId="1035"/>
          <ac:spMkLst>
            <pc:docMk/>
            <pc:sldMk cId="1667945532" sldId="306"/>
            <ac:spMk id="32" creationId="{E65DDA4F-7190-4D5B-B875-6818D18C9F6E}"/>
          </ac:spMkLst>
        </pc:spChg>
      </pc:sldChg>
      <pc:sldChg chg="del">
        <pc:chgData name="Meyer Raphael (PAR-ES)" userId="79615dfe-ed48-4e74-a40f-4f7b034c1c27" providerId="ADAL" clId="{4F219964-ECFF-451B-954E-AFA60EFA114B}" dt="2021-05-17T07:11:49.919" v="105" actId="2696"/>
        <pc:sldMkLst>
          <pc:docMk/>
          <pc:sldMk cId="258869739" sldId="352"/>
        </pc:sldMkLst>
      </pc:sldChg>
      <pc:sldChg chg="del">
        <pc:chgData name="Meyer Raphael (PAR-ES)" userId="79615dfe-ed48-4e74-a40f-4f7b034c1c27" providerId="ADAL" clId="{4F219964-ECFF-451B-954E-AFA60EFA114B}" dt="2021-05-17T07:13:17.952" v="117" actId="2696"/>
        <pc:sldMkLst>
          <pc:docMk/>
          <pc:sldMk cId="1811537745" sldId="353"/>
        </pc:sldMkLst>
      </pc:sldChg>
      <pc:sldChg chg="addSp delSp modSp add mod ord">
        <pc:chgData name="Meyer Raphael (PAR-ES)" userId="79615dfe-ed48-4e74-a40f-4f7b034c1c27" providerId="ADAL" clId="{4F219964-ECFF-451B-954E-AFA60EFA114B}" dt="2021-05-17T07:11:37.879" v="104"/>
        <pc:sldMkLst>
          <pc:docMk/>
          <pc:sldMk cId="283003333" sldId="354"/>
        </pc:sldMkLst>
        <pc:spChg chg="mod">
          <ac:chgData name="Meyer Raphael (PAR-ES)" userId="79615dfe-ed48-4e74-a40f-4f7b034c1c27" providerId="ADAL" clId="{4F219964-ECFF-451B-954E-AFA60EFA114B}" dt="2021-05-17T07:11:05" v="100"/>
          <ac:spMkLst>
            <pc:docMk/>
            <pc:sldMk cId="283003333" sldId="354"/>
            <ac:spMk id="2" creationId="{A2DC317F-F1F4-4624-8FC1-3B68C1DBB3DA}"/>
          </ac:spMkLst>
        </pc:spChg>
        <pc:spChg chg="del">
          <ac:chgData name="Meyer Raphael (PAR-ES)" userId="79615dfe-ed48-4e74-a40f-4f7b034c1c27" providerId="ADAL" clId="{4F219964-ECFF-451B-954E-AFA60EFA114B}" dt="2021-05-17T07:10:47.340" v="98" actId="478"/>
          <ac:spMkLst>
            <pc:docMk/>
            <pc:sldMk cId="283003333" sldId="354"/>
            <ac:spMk id="7" creationId="{BA3F9A72-0541-4D1F-8CD8-1C2B8074FA1B}"/>
          </ac:spMkLst>
        </pc:spChg>
        <pc:spChg chg="mod">
          <ac:chgData name="Meyer Raphael (PAR-ES)" userId="79615dfe-ed48-4e74-a40f-4f7b034c1c27" providerId="ADAL" clId="{4F219964-ECFF-451B-954E-AFA60EFA114B}" dt="2021-05-17T07:11:26.031" v="103" actId="14100"/>
          <ac:spMkLst>
            <pc:docMk/>
            <pc:sldMk cId="283003333" sldId="354"/>
            <ac:spMk id="8" creationId="{5857C2A1-2CB8-4D4A-AEFD-E809BF73D04F}"/>
          </ac:spMkLst>
        </pc:spChg>
        <pc:spChg chg="del">
          <ac:chgData name="Meyer Raphael (PAR-ES)" userId="79615dfe-ed48-4e74-a40f-4f7b034c1c27" providerId="ADAL" clId="{4F219964-ECFF-451B-954E-AFA60EFA114B}" dt="2021-05-17T07:10:47.340" v="98" actId="478"/>
          <ac:spMkLst>
            <pc:docMk/>
            <pc:sldMk cId="283003333" sldId="354"/>
            <ac:spMk id="9" creationId="{B6990B61-32B2-4ADC-BF01-EDF7B4080F97}"/>
          </ac:spMkLst>
        </pc:spChg>
        <pc:spChg chg="mod">
          <ac:chgData name="Meyer Raphael (PAR-ES)" userId="79615dfe-ed48-4e74-a40f-4f7b034c1c27" providerId="ADAL" clId="{4F219964-ECFF-451B-954E-AFA60EFA114B}" dt="2021-05-17T07:11:14.081" v="101"/>
          <ac:spMkLst>
            <pc:docMk/>
            <pc:sldMk cId="283003333" sldId="354"/>
            <ac:spMk id="10" creationId="{077DFD58-E5EE-4B68-9325-D935DB04DD40}"/>
          </ac:spMkLst>
        </pc:spChg>
        <pc:spChg chg="del">
          <ac:chgData name="Meyer Raphael (PAR-ES)" userId="79615dfe-ed48-4e74-a40f-4f7b034c1c27" providerId="ADAL" clId="{4F219964-ECFF-451B-954E-AFA60EFA114B}" dt="2021-05-17T07:10:47.340" v="98" actId="478"/>
          <ac:spMkLst>
            <pc:docMk/>
            <pc:sldMk cId="283003333" sldId="354"/>
            <ac:spMk id="17" creationId="{785E740C-F94A-4208-8DFD-63A603C16577}"/>
          </ac:spMkLst>
        </pc:spChg>
        <pc:spChg chg="add mod">
          <ac:chgData name="Meyer Raphael (PAR-ES)" userId="79615dfe-ed48-4e74-a40f-4f7b034c1c27" providerId="ADAL" clId="{4F219964-ECFF-451B-954E-AFA60EFA114B}" dt="2021-05-17T07:10:56.934" v="99"/>
          <ac:spMkLst>
            <pc:docMk/>
            <pc:sldMk cId="283003333" sldId="354"/>
            <ac:spMk id="21" creationId="{2AACE76F-C9E5-48F3-9962-E024B0F75632}"/>
          </ac:spMkLst>
        </pc:spChg>
        <pc:spChg chg="add mod">
          <ac:chgData name="Meyer Raphael (PAR-ES)" userId="79615dfe-ed48-4e74-a40f-4f7b034c1c27" providerId="ADAL" clId="{4F219964-ECFF-451B-954E-AFA60EFA114B}" dt="2021-05-17T07:10:56.934" v="99"/>
          <ac:spMkLst>
            <pc:docMk/>
            <pc:sldMk cId="283003333" sldId="354"/>
            <ac:spMk id="22" creationId="{88F8814D-97E2-4914-B78F-08E6032DDCBC}"/>
          </ac:spMkLst>
        </pc:spChg>
        <pc:spChg chg="add mod">
          <ac:chgData name="Meyer Raphael (PAR-ES)" userId="79615dfe-ed48-4e74-a40f-4f7b034c1c27" providerId="ADAL" clId="{4F219964-ECFF-451B-954E-AFA60EFA114B}" dt="2021-05-17T07:10:56.934" v="99"/>
          <ac:spMkLst>
            <pc:docMk/>
            <pc:sldMk cId="283003333" sldId="354"/>
            <ac:spMk id="23" creationId="{0297700A-3B5A-4841-9CD9-E33F8AC148D1}"/>
          </ac:spMkLst>
        </pc:spChg>
        <pc:spChg chg="add mod">
          <ac:chgData name="Meyer Raphael (PAR-ES)" userId="79615dfe-ed48-4e74-a40f-4f7b034c1c27" providerId="ADAL" clId="{4F219964-ECFF-451B-954E-AFA60EFA114B}" dt="2021-05-17T07:10:56.934" v="99"/>
          <ac:spMkLst>
            <pc:docMk/>
            <pc:sldMk cId="283003333" sldId="354"/>
            <ac:spMk id="25" creationId="{AD0421BB-29D5-4E02-AB15-40FDE9E96718}"/>
          </ac:spMkLst>
        </pc:spChg>
        <pc:spChg chg="del">
          <ac:chgData name="Meyer Raphael (PAR-ES)" userId="79615dfe-ed48-4e74-a40f-4f7b034c1c27" providerId="ADAL" clId="{4F219964-ECFF-451B-954E-AFA60EFA114B}" dt="2021-05-17T07:10:47.340" v="98" actId="478"/>
          <ac:spMkLst>
            <pc:docMk/>
            <pc:sldMk cId="283003333" sldId="354"/>
            <ac:spMk id="26" creationId="{BFD498B5-D73E-4C8A-9FAF-B3547647538C}"/>
          </ac:spMkLst>
        </pc:spChg>
        <pc:spChg chg="mod">
          <ac:chgData name="Meyer Raphael (PAR-ES)" userId="79615dfe-ed48-4e74-a40f-4f7b034c1c27" providerId="ADAL" clId="{4F219964-ECFF-451B-954E-AFA60EFA114B}" dt="2021-05-17T07:11:37.879" v="104"/>
          <ac:spMkLst>
            <pc:docMk/>
            <pc:sldMk cId="283003333" sldId="354"/>
            <ac:spMk id="27" creationId="{46A6B042-39EE-4A58-BBAA-13D52264B660}"/>
          </ac:spMkLst>
        </pc:spChg>
      </pc:sldChg>
      <pc:sldChg chg="addSp delSp modSp add mod ord">
        <pc:chgData name="Meyer Raphael (PAR-ES)" userId="79615dfe-ed48-4e74-a40f-4f7b034c1c27" providerId="ADAL" clId="{4F219964-ECFF-451B-954E-AFA60EFA114B}" dt="2021-05-17T07:13:06.719" v="116" actId="14100"/>
        <pc:sldMkLst>
          <pc:docMk/>
          <pc:sldMk cId="2212603589" sldId="355"/>
        </pc:sldMkLst>
        <pc:spChg chg="mod">
          <ac:chgData name="Meyer Raphael (PAR-ES)" userId="79615dfe-ed48-4e74-a40f-4f7b034c1c27" providerId="ADAL" clId="{4F219964-ECFF-451B-954E-AFA60EFA114B}" dt="2021-05-17T07:12:32.380" v="110"/>
          <ac:spMkLst>
            <pc:docMk/>
            <pc:sldMk cId="2212603589" sldId="355"/>
            <ac:spMk id="2" creationId="{A2DC317F-F1F4-4624-8FC1-3B68C1DBB3DA}"/>
          </ac:spMkLst>
        </pc:spChg>
        <pc:spChg chg="del">
          <ac:chgData name="Meyer Raphael (PAR-ES)" userId="79615dfe-ed48-4e74-a40f-4f7b034c1c27" providerId="ADAL" clId="{4F219964-ECFF-451B-954E-AFA60EFA114B}" dt="2021-05-17T07:12:04.890" v="108" actId="478"/>
          <ac:spMkLst>
            <pc:docMk/>
            <pc:sldMk cId="2212603589" sldId="355"/>
            <ac:spMk id="7" creationId="{BA3F9A72-0541-4D1F-8CD8-1C2B8074FA1B}"/>
          </ac:spMkLst>
        </pc:spChg>
        <pc:spChg chg="mod">
          <ac:chgData name="Meyer Raphael (PAR-ES)" userId="79615dfe-ed48-4e74-a40f-4f7b034c1c27" providerId="ADAL" clId="{4F219964-ECFF-451B-954E-AFA60EFA114B}" dt="2021-05-17T07:12:50.893" v="113" actId="14100"/>
          <ac:spMkLst>
            <pc:docMk/>
            <pc:sldMk cId="2212603589" sldId="355"/>
            <ac:spMk id="8" creationId="{5857C2A1-2CB8-4D4A-AEFD-E809BF73D04F}"/>
          </ac:spMkLst>
        </pc:spChg>
        <pc:spChg chg="del">
          <ac:chgData name="Meyer Raphael (PAR-ES)" userId="79615dfe-ed48-4e74-a40f-4f7b034c1c27" providerId="ADAL" clId="{4F219964-ECFF-451B-954E-AFA60EFA114B}" dt="2021-05-17T07:12:04.890" v="108" actId="478"/>
          <ac:spMkLst>
            <pc:docMk/>
            <pc:sldMk cId="2212603589" sldId="355"/>
            <ac:spMk id="9" creationId="{B6990B61-32B2-4ADC-BF01-EDF7B4080F97}"/>
          </ac:spMkLst>
        </pc:spChg>
        <pc:spChg chg="mod">
          <ac:chgData name="Meyer Raphael (PAR-ES)" userId="79615dfe-ed48-4e74-a40f-4f7b034c1c27" providerId="ADAL" clId="{4F219964-ECFF-451B-954E-AFA60EFA114B}" dt="2021-05-17T07:12:40.246" v="111"/>
          <ac:spMkLst>
            <pc:docMk/>
            <pc:sldMk cId="2212603589" sldId="355"/>
            <ac:spMk id="10" creationId="{077DFD58-E5EE-4B68-9325-D935DB04DD40}"/>
          </ac:spMkLst>
        </pc:spChg>
        <pc:spChg chg="del">
          <ac:chgData name="Meyer Raphael (PAR-ES)" userId="79615dfe-ed48-4e74-a40f-4f7b034c1c27" providerId="ADAL" clId="{4F219964-ECFF-451B-954E-AFA60EFA114B}" dt="2021-05-17T07:12:01.165" v="107" actId="478"/>
          <ac:spMkLst>
            <pc:docMk/>
            <pc:sldMk cId="2212603589" sldId="355"/>
            <ac:spMk id="17" creationId="{785E740C-F94A-4208-8DFD-63A603C16577}"/>
          </ac:spMkLst>
        </pc:spChg>
        <pc:spChg chg="add mod">
          <ac:chgData name="Meyer Raphael (PAR-ES)" userId="79615dfe-ed48-4e74-a40f-4f7b034c1c27" providerId="ADAL" clId="{4F219964-ECFF-451B-954E-AFA60EFA114B}" dt="2021-05-17T07:12:15.824" v="109"/>
          <ac:spMkLst>
            <pc:docMk/>
            <pc:sldMk cId="2212603589" sldId="355"/>
            <ac:spMk id="21" creationId="{67B01A6C-2D47-49D0-A256-AB828CC1F562}"/>
          </ac:spMkLst>
        </pc:spChg>
        <pc:spChg chg="add mod">
          <ac:chgData name="Meyer Raphael (PAR-ES)" userId="79615dfe-ed48-4e74-a40f-4f7b034c1c27" providerId="ADAL" clId="{4F219964-ECFF-451B-954E-AFA60EFA114B}" dt="2021-05-17T07:12:15.824" v="109"/>
          <ac:spMkLst>
            <pc:docMk/>
            <pc:sldMk cId="2212603589" sldId="355"/>
            <ac:spMk id="22" creationId="{7A671292-99C0-49AC-B9D3-6127FD328852}"/>
          </ac:spMkLst>
        </pc:spChg>
        <pc:spChg chg="add mod">
          <ac:chgData name="Meyer Raphael (PAR-ES)" userId="79615dfe-ed48-4e74-a40f-4f7b034c1c27" providerId="ADAL" clId="{4F219964-ECFF-451B-954E-AFA60EFA114B}" dt="2021-05-17T07:12:15.824" v="109"/>
          <ac:spMkLst>
            <pc:docMk/>
            <pc:sldMk cId="2212603589" sldId="355"/>
            <ac:spMk id="23" creationId="{E1EDEBD4-4925-40A4-8B16-8E6B79D027D0}"/>
          </ac:spMkLst>
        </pc:spChg>
        <pc:spChg chg="add mod">
          <ac:chgData name="Meyer Raphael (PAR-ES)" userId="79615dfe-ed48-4e74-a40f-4f7b034c1c27" providerId="ADAL" clId="{4F219964-ECFF-451B-954E-AFA60EFA114B}" dt="2021-05-17T07:12:15.824" v="109"/>
          <ac:spMkLst>
            <pc:docMk/>
            <pc:sldMk cId="2212603589" sldId="355"/>
            <ac:spMk id="25" creationId="{1686F50F-A1F1-4312-A718-0B6D2D6DF005}"/>
          </ac:spMkLst>
        </pc:spChg>
        <pc:spChg chg="del mod">
          <ac:chgData name="Meyer Raphael (PAR-ES)" userId="79615dfe-ed48-4e74-a40f-4f7b034c1c27" providerId="ADAL" clId="{4F219964-ECFF-451B-954E-AFA60EFA114B}" dt="2021-05-17T07:12:01.165" v="107" actId="478"/>
          <ac:spMkLst>
            <pc:docMk/>
            <pc:sldMk cId="2212603589" sldId="355"/>
            <ac:spMk id="26" creationId="{BFD498B5-D73E-4C8A-9FAF-B3547647538C}"/>
          </ac:spMkLst>
        </pc:spChg>
        <pc:spChg chg="mod">
          <ac:chgData name="Meyer Raphael (PAR-ES)" userId="79615dfe-ed48-4e74-a40f-4f7b034c1c27" providerId="ADAL" clId="{4F219964-ECFF-451B-954E-AFA60EFA114B}" dt="2021-05-17T07:13:06.719" v="116" actId="14100"/>
          <ac:spMkLst>
            <pc:docMk/>
            <pc:sldMk cId="2212603589" sldId="355"/>
            <ac:spMk id="27" creationId="{46A6B042-39EE-4A58-BBAA-13D52264B660}"/>
          </ac:spMkLst>
        </pc:spChg>
      </pc:sldChg>
    </pc:docChg>
  </pc:docChgLst>
  <pc:docChgLst>
    <pc:chgData name="Weigel Stefan (PAR-EPS)" userId="fd3b2067-2981-4ad8-bf3a-d2e1004e4fa8" providerId="ADAL" clId="{1773CBF0-05EB-4D3C-B4B9-D117CB17660F}"/>
    <pc:docChg chg="modSld">
      <pc:chgData name="Weigel Stefan (PAR-EPS)" userId="fd3b2067-2981-4ad8-bf3a-d2e1004e4fa8" providerId="ADAL" clId="{1773CBF0-05EB-4D3C-B4B9-D117CB17660F}" dt="2024-02-02T11:11:28.247" v="27" actId="27918"/>
      <pc:docMkLst>
        <pc:docMk/>
      </pc:docMkLst>
      <pc:sldChg chg="mod">
        <pc:chgData name="Weigel Stefan (PAR-EPS)" userId="fd3b2067-2981-4ad8-bf3a-d2e1004e4fa8" providerId="ADAL" clId="{1773CBF0-05EB-4D3C-B4B9-D117CB17660F}" dt="2024-02-02T11:11:28.247" v="27" actId="27918"/>
        <pc:sldMkLst>
          <pc:docMk/>
          <pc:sldMk cId="3865012081" sldId="415"/>
        </pc:sldMkLst>
      </pc:sldChg>
    </pc:docChg>
  </pc:docChgLst>
  <pc:docChgLst>
    <pc:chgData name="Meyer Raphael (PAR-ES)" userId="79615dfe-ed48-4e74-a40f-4f7b034c1c27" providerId="ADAL" clId="{EB920B20-9E76-44F1-B795-88FF7E10FD37}"/>
    <pc:docChg chg="modSld">
      <pc:chgData name="Meyer Raphael (PAR-ES)" userId="79615dfe-ed48-4e74-a40f-4f7b034c1c27" providerId="ADAL" clId="{EB920B20-9E76-44F1-B795-88FF7E10FD37}" dt="2021-09-10T07:18:03.290" v="121" actId="1076"/>
      <pc:docMkLst>
        <pc:docMk/>
      </pc:docMkLst>
      <pc:sldChg chg="modSp mod">
        <pc:chgData name="Meyer Raphael (PAR-ES)" userId="79615dfe-ed48-4e74-a40f-4f7b034c1c27" providerId="ADAL" clId="{EB920B20-9E76-44F1-B795-88FF7E10FD37}" dt="2021-09-10T07:17:56.959" v="120" actId="1076"/>
        <pc:sldMkLst>
          <pc:docMk/>
          <pc:sldMk cId="1495152177" sldId="298"/>
        </pc:sldMkLst>
        <pc:spChg chg="mod">
          <ac:chgData name="Meyer Raphael (PAR-ES)" userId="79615dfe-ed48-4e74-a40f-4f7b034c1c27" providerId="ADAL" clId="{EB920B20-9E76-44F1-B795-88FF7E10FD37}" dt="2021-09-10T07:17:56.959" v="120" actId="1076"/>
          <ac:spMkLst>
            <pc:docMk/>
            <pc:sldMk cId="1495152177" sldId="298"/>
            <ac:spMk id="7" creationId="{51421822-C303-4FC2-BF5E-F4377E568635}"/>
          </ac:spMkLst>
        </pc:spChg>
        <pc:spChg chg="mod">
          <ac:chgData name="Meyer Raphael (PAR-ES)" userId="79615dfe-ed48-4e74-a40f-4f7b034c1c27" providerId="ADAL" clId="{EB920B20-9E76-44F1-B795-88FF7E10FD37}" dt="2021-09-10T07:00:56.739" v="85" actId="1037"/>
          <ac:spMkLst>
            <pc:docMk/>
            <pc:sldMk cId="1495152177" sldId="298"/>
            <ac:spMk id="12" creationId="{970D2C07-63A2-4265-B006-56F685FE80A5}"/>
          </ac:spMkLst>
        </pc:spChg>
        <pc:spChg chg="mod">
          <ac:chgData name="Meyer Raphael (PAR-ES)" userId="79615dfe-ed48-4e74-a40f-4f7b034c1c27" providerId="ADAL" clId="{EB920B20-9E76-44F1-B795-88FF7E10FD37}" dt="2021-09-10T07:00:56.739" v="85" actId="1037"/>
          <ac:spMkLst>
            <pc:docMk/>
            <pc:sldMk cId="1495152177" sldId="298"/>
            <ac:spMk id="13" creationId="{93412675-62AA-41D8-997C-4E877ED953A8}"/>
          </ac:spMkLst>
        </pc:spChg>
        <pc:graphicFrameChg chg="modGraphic">
          <ac:chgData name="Meyer Raphael (PAR-ES)" userId="79615dfe-ed48-4e74-a40f-4f7b034c1c27" providerId="ADAL" clId="{EB920B20-9E76-44F1-B795-88FF7E10FD37}" dt="2021-09-10T06:48:23.411" v="21"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EB920B20-9E76-44F1-B795-88FF7E10FD37}" dt="2021-09-10T07:00:56.739" v="85" actId="1037"/>
          <ac:cxnSpMkLst>
            <pc:docMk/>
            <pc:sldMk cId="1495152177" sldId="298"/>
            <ac:cxnSpMk id="8" creationId="{6F3EB9D3-E612-42D9-859B-1905BD876C26}"/>
          </ac:cxnSpMkLst>
        </pc:cxnChg>
      </pc:sldChg>
      <pc:sldChg chg="modSp mod">
        <pc:chgData name="Meyer Raphael (PAR-ES)" userId="79615dfe-ed48-4e74-a40f-4f7b034c1c27" providerId="ADAL" clId="{EB920B20-9E76-44F1-B795-88FF7E10FD37}" dt="2021-09-10T07:17:51.387" v="119" actId="1076"/>
        <pc:sldMkLst>
          <pc:docMk/>
          <pc:sldMk cId="3590012689" sldId="365"/>
        </pc:sldMkLst>
        <pc:spChg chg="mod">
          <ac:chgData name="Meyer Raphael (PAR-ES)" userId="79615dfe-ed48-4e74-a40f-4f7b034c1c27" providerId="ADAL" clId="{EB920B20-9E76-44F1-B795-88FF7E10FD37}" dt="2021-09-10T07:17:51.387" v="119" actId="1076"/>
          <ac:spMkLst>
            <pc:docMk/>
            <pc:sldMk cId="3590012689" sldId="365"/>
            <ac:spMk id="7" creationId="{51421822-C303-4FC2-BF5E-F4377E568635}"/>
          </ac:spMkLst>
        </pc:spChg>
        <pc:spChg chg="mod">
          <ac:chgData name="Meyer Raphael (PAR-ES)" userId="79615dfe-ed48-4e74-a40f-4f7b034c1c27" providerId="ADAL" clId="{EB920B20-9E76-44F1-B795-88FF7E10FD37}" dt="2021-09-10T07:01:18.658" v="103" actId="1038"/>
          <ac:spMkLst>
            <pc:docMk/>
            <pc:sldMk cId="3590012689" sldId="365"/>
            <ac:spMk id="12" creationId="{970D2C07-63A2-4265-B006-56F685FE80A5}"/>
          </ac:spMkLst>
        </pc:spChg>
        <pc:spChg chg="mod">
          <ac:chgData name="Meyer Raphael (PAR-ES)" userId="79615dfe-ed48-4e74-a40f-4f7b034c1c27" providerId="ADAL" clId="{EB920B20-9E76-44F1-B795-88FF7E10FD37}" dt="2021-09-10T07:01:18.658" v="103" actId="1038"/>
          <ac:spMkLst>
            <pc:docMk/>
            <pc:sldMk cId="3590012689" sldId="365"/>
            <ac:spMk id="13" creationId="{93412675-62AA-41D8-997C-4E877ED953A8}"/>
          </ac:spMkLst>
        </pc:spChg>
        <pc:graphicFrameChg chg="mod modGraphic">
          <ac:chgData name="Meyer Raphael (PAR-ES)" userId="79615dfe-ed48-4e74-a40f-4f7b034c1c27" providerId="ADAL" clId="{EB920B20-9E76-44F1-B795-88FF7E10FD37}" dt="2021-09-10T06:52:55.621" v="34"/>
          <ac:graphicFrameMkLst>
            <pc:docMk/>
            <pc:sldMk cId="3590012689" sldId="365"/>
            <ac:graphicFrameMk id="9" creationId="{E1369C63-C4A7-403B-A03F-B004599F910A}"/>
          </ac:graphicFrameMkLst>
        </pc:graphicFrameChg>
        <pc:cxnChg chg="mod">
          <ac:chgData name="Meyer Raphael (PAR-ES)" userId="79615dfe-ed48-4e74-a40f-4f7b034c1c27" providerId="ADAL" clId="{EB920B20-9E76-44F1-B795-88FF7E10FD37}" dt="2021-09-10T07:01:18.658" v="103" actId="1038"/>
          <ac:cxnSpMkLst>
            <pc:docMk/>
            <pc:sldMk cId="3590012689" sldId="365"/>
            <ac:cxnSpMk id="8" creationId="{6F3EB9D3-E612-42D9-859B-1905BD876C26}"/>
          </ac:cxnSpMkLst>
        </pc:cxnChg>
      </pc:sldChg>
      <pc:sldChg chg="modSp mod">
        <pc:chgData name="Meyer Raphael (PAR-ES)" userId="79615dfe-ed48-4e74-a40f-4f7b034c1c27" providerId="ADAL" clId="{EB920B20-9E76-44F1-B795-88FF7E10FD37}" dt="2021-09-10T07:18:03.290" v="121" actId="1076"/>
        <pc:sldMkLst>
          <pc:docMk/>
          <pc:sldMk cId="689864941" sldId="366"/>
        </pc:sldMkLst>
        <pc:spChg chg="mod">
          <ac:chgData name="Meyer Raphael (PAR-ES)" userId="79615dfe-ed48-4e74-a40f-4f7b034c1c27" providerId="ADAL" clId="{EB920B20-9E76-44F1-B795-88FF7E10FD37}" dt="2021-09-10T07:18:03.290" v="121" actId="1076"/>
          <ac:spMkLst>
            <pc:docMk/>
            <pc:sldMk cId="689864941" sldId="366"/>
            <ac:spMk id="7" creationId="{51421822-C303-4FC2-BF5E-F4377E568635}"/>
          </ac:spMkLst>
        </pc:spChg>
        <pc:spChg chg="mod">
          <ac:chgData name="Meyer Raphael (PAR-ES)" userId="79615dfe-ed48-4e74-a40f-4f7b034c1c27" providerId="ADAL" clId="{EB920B20-9E76-44F1-B795-88FF7E10FD37}" dt="2021-09-10T07:01:29.510" v="117" actId="1038"/>
          <ac:spMkLst>
            <pc:docMk/>
            <pc:sldMk cId="689864941" sldId="366"/>
            <ac:spMk id="12" creationId="{970D2C07-63A2-4265-B006-56F685FE80A5}"/>
          </ac:spMkLst>
        </pc:spChg>
        <pc:spChg chg="mod">
          <ac:chgData name="Meyer Raphael (PAR-ES)" userId="79615dfe-ed48-4e74-a40f-4f7b034c1c27" providerId="ADAL" clId="{EB920B20-9E76-44F1-B795-88FF7E10FD37}" dt="2021-09-10T07:01:29.510" v="117" actId="1038"/>
          <ac:spMkLst>
            <pc:docMk/>
            <pc:sldMk cId="689864941" sldId="366"/>
            <ac:spMk id="13" creationId="{93412675-62AA-41D8-997C-4E877ED953A8}"/>
          </ac:spMkLst>
        </pc:spChg>
        <pc:graphicFrameChg chg="mod modGraphic">
          <ac:chgData name="Meyer Raphael (PAR-ES)" userId="79615dfe-ed48-4e74-a40f-4f7b034c1c27" providerId="ADAL" clId="{EB920B20-9E76-44F1-B795-88FF7E10FD37}" dt="2021-09-10T06:53:00.873" v="35"/>
          <ac:graphicFrameMkLst>
            <pc:docMk/>
            <pc:sldMk cId="689864941" sldId="366"/>
            <ac:graphicFrameMk id="9" creationId="{E1369C63-C4A7-403B-A03F-B004599F910A}"/>
          </ac:graphicFrameMkLst>
        </pc:graphicFrameChg>
        <pc:cxnChg chg="mod">
          <ac:chgData name="Meyer Raphael (PAR-ES)" userId="79615dfe-ed48-4e74-a40f-4f7b034c1c27" providerId="ADAL" clId="{EB920B20-9E76-44F1-B795-88FF7E10FD37}" dt="2021-09-10T07:01:29.510" v="117" actId="1038"/>
          <ac:cxnSpMkLst>
            <pc:docMk/>
            <pc:sldMk cId="689864941" sldId="366"/>
            <ac:cxnSpMk id="8" creationId="{6F3EB9D3-E612-42D9-859B-1905BD876C26}"/>
          </ac:cxnSpMkLst>
        </pc:cxnChg>
      </pc:sldChg>
    </pc:docChg>
  </pc:docChgLst>
  <pc:docChgLst>
    <pc:chgData name="Meyer Raphael (PAR-ES)" userId="79615dfe-ed48-4e74-a40f-4f7b034c1c27" providerId="ADAL" clId="{46E68D57-EC4A-48B9-B328-0E92837B872C}"/>
    <pc:docChg chg="undo custSel addSld delSld modSld">
      <pc:chgData name="Meyer Raphael (PAR-ES)" userId="79615dfe-ed48-4e74-a40f-4f7b034c1c27" providerId="ADAL" clId="{46E68D57-EC4A-48B9-B328-0E92837B872C}" dt="2021-11-04T10:48:15.515" v="103"/>
      <pc:docMkLst>
        <pc:docMk/>
      </pc:docMkLst>
      <pc:sldChg chg="modSp mod">
        <pc:chgData name="Meyer Raphael (PAR-ES)" userId="79615dfe-ed48-4e74-a40f-4f7b034c1c27" providerId="ADAL" clId="{46E68D57-EC4A-48B9-B328-0E92837B872C}" dt="2021-11-04T10:42:08.817" v="89" actId="207"/>
        <pc:sldMkLst>
          <pc:docMk/>
          <pc:sldMk cId="3808035539" sldId="270"/>
        </pc:sldMkLst>
        <pc:spChg chg="mod">
          <ac:chgData name="Meyer Raphael (PAR-ES)" userId="79615dfe-ed48-4e74-a40f-4f7b034c1c27" providerId="ADAL" clId="{46E68D57-EC4A-48B9-B328-0E92837B872C}" dt="2021-11-04T10:42:08.817" v="89" actId="207"/>
          <ac:spMkLst>
            <pc:docMk/>
            <pc:sldMk cId="3808035539" sldId="270"/>
            <ac:spMk id="7" creationId="{CE60A944-7104-442D-B06A-85C8256131F7}"/>
          </ac:spMkLst>
        </pc:spChg>
        <pc:spChg chg="mod">
          <ac:chgData name="Meyer Raphael (PAR-ES)" userId="79615dfe-ed48-4e74-a40f-4f7b034c1c27" providerId="ADAL" clId="{46E68D57-EC4A-48B9-B328-0E92837B872C}" dt="2021-11-04T10:39:47.696" v="88" actId="1036"/>
          <ac:spMkLst>
            <pc:docMk/>
            <pc:sldMk cId="3808035539" sldId="270"/>
            <ac:spMk id="10" creationId="{41B9B9AB-4B12-4760-AF37-4FABDDFAE68B}"/>
          </ac:spMkLst>
        </pc:spChg>
      </pc:sldChg>
      <pc:sldChg chg="addSp delSp modSp mod">
        <pc:chgData name="Meyer Raphael (PAR-ES)" userId="79615dfe-ed48-4e74-a40f-4f7b034c1c27" providerId="ADAL" clId="{46E68D57-EC4A-48B9-B328-0E92837B872C}" dt="2021-11-04T10:38:37.436" v="79" actId="1038"/>
        <pc:sldMkLst>
          <pc:docMk/>
          <pc:sldMk cId="3677740869" sldId="271"/>
        </pc:sldMkLst>
        <pc:spChg chg="mod">
          <ac:chgData name="Meyer Raphael (PAR-ES)" userId="79615dfe-ed48-4e74-a40f-4f7b034c1c27" providerId="ADAL" clId="{46E68D57-EC4A-48B9-B328-0E92837B872C}" dt="2021-11-04T10:34:26.402" v="16" actId="20577"/>
          <ac:spMkLst>
            <pc:docMk/>
            <pc:sldMk cId="3677740869" sldId="271"/>
            <ac:spMk id="2" creationId="{00000000-0000-0000-0000-000000000000}"/>
          </ac:spMkLst>
        </pc:spChg>
        <pc:spChg chg="del">
          <ac:chgData name="Meyer Raphael (PAR-ES)" userId="79615dfe-ed48-4e74-a40f-4f7b034c1c27" providerId="ADAL" clId="{46E68D57-EC4A-48B9-B328-0E92837B872C}" dt="2021-11-04T10:33:28.590" v="10" actId="478"/>
          <ac:spMkLst>
            <pc:docMk/>
            <pc:sldMk cId="3677740869" sldId="271"/>
            <ac:spMk id="5" creationId="{00000000-0000-0000-0000-000000000000}"/>
          </ac:spMkLst>
        </pc:spChg>
        <pc:spChg chg="add mod">
          <ac:chgData name="Meyer Raphael (PAR-ES)" userId="79615dfe-ed48-4e74-a40f-4f7b034c1c27" providerId="ADAL" clId="{46E68D57-EC4A-48B9-B328-0E92837B872C}" dt="2021-11-04T10:38:37.436" v="79" actId="1038"/>
          <ac:spMkLst>
            <pc:docMk/>
            <pc:sldMk cId="3677740869" sldId="271"/>
            <ac:spMk id="6" creationId="{43DF758D-1D72-4940-A1AE-B914B7A641D5}"/>
          </ac:spMkLst>
        </pc:spChg>
        <pc:spChg chg="add mod">
          <ac:chgData name="Meyer Raphael (PAR-ES)" userId="79615dfe-ed48-4e74-a40f-4f7b034c1c27" providerId="ADAL" clId="{46E68D57-EC4A-48B9-B328-0E92837B872C}" dt="2021-11-04T10:34:33.002" v="19"/>
          <ac:spMkLst>
            <pc:docMk/>
            <pc:sldMk cId="3677740869" sldId="271"/>
            <ac:spMk id="7" creationId="{F89A807E-3A97-42E9-81E0-CE2025105F4C}"/>
          </ac:spMkLst>
        </pc:spChg>
      </pc:sldChg>
      <pc:sldChg chg="addSp delSp modSp mod">
        <pc:chgData name="Meyer Raphael (PAR-ES)" userId="79615dfe-ed48-4e74-a40f-4f7b034c1c27" providerId="ADAL" clId="{46E68D57-EC4A-48B9-B328-0E92837B872C}" dt="2021-11-04T10:44:31.407" v="96"/>
        <pc:sldMkLst>
          <pc:docMk/>
          <pc:sldMk cId="1963209825" sldId="272"/>
        </pc:sldMkLst>
        <pc:spChg chg="mod">
          <ac:chgData name="Meyer Raphael (PAR-ES)" userId="79615dfe-ed48-4e74-a40f-4f7b034c1c27" providerId="ADAL" clId="{46E68D57-EC4A-48B9-B328-0E92837B872C}" dt="2021-11-04T10:44:25.829" v="95" actId="21"/>
          <ac:spMkLst>
            <pc:docMk/>
            <pc:sldMk cId="1963209825" sldId="272"/>
            <ac:spMk id="2" creationId="{00000000-0000-0000-0000-000000000000}"/>
          </ac:spMkLst>
        </pc:spChg>
        <pc:spChg chg="del">
          <ac:chgData name="Meyer Raphael (PAR-ES)" userId="79615dfe-ed48-4e74-a40f-4f7b034c1c27" providerId="ADAL" clId="{46E68D57-EC4A-48B9-B328-0E92837B872C}" dt="2021-11-04T10:43:56.924" v="91" actId="478"/>
          <ac:spMkLst>
            <pc:docMk/>
            <pc:sldMk cId="1963209825" sldId="272"/>
            <ac:spMk id="5" creationId="{00000000-0000-0000-0000-000000000000}"/>
          </ac:spMkLst>
        </pc:spChg>
        <pc:spChg chg="add mod">
          <ac:chgData name="Meyer Raphael (PAR-ES)" userId="79615dfe-ed48-4e74-a40f-4f7b034c1c27" providerId="ADAL" clId="{46E68D57-EC4A-48B9-B328-0E92837B872C}" dt="2021-11-04T10:43:50.784" v="90"/>
          <ac:spMkLst>
            <pc:docMk/>
            <pc:sldMk cId="1963209825" sldId="272"/>
            <ac:spMk id="6" creationId="{CF6DBC6D-330A-4C20-9AEB-024C54AD5363}"/>
          </ac:spMkLst>
        </pc:spChg>
        <pc:spChg chg="add mod">
          <ac:chgData name="Meyer Raphael (PAR-ES)" userId="79615dfe-ed48-4e74-a40f-4f7b034c1c27" providerId="ADAL" clId="{46E68D57-EC4A-48B9-B328-0E92837B872C}" dt="2021-11-04T10:44:31.407" v="96"/>
          <ac:spMkLst>
            <pc:docMk/>
            <pc:sldMk cId="1963209825" sldId="272"/>
            <ac:spMk id="7" creationId="{78F08A34-A86E-4774-9EC1-635781A0CFBC}"/>
          </ac:spMkLst>
        </pc:spChg>
        <pc:graphicFrameChg chg="mod">
          <ac:chgData name="Meyer Raphael (PAR-ES)" userId="79615dfe-ed48-4e74-a40f-4f7b034c1c27" providerId="ADAL" clId="{46E68D57-EC4A-48B9-B328-0E92837B872C}" dt="2021-11-04T10:32:13.969" v="8" actId="207"/>
          <ac:graphicFrameMkLst>
            <pc:docMk/>
            <pc:sldMk cId="1963209825" sldId="272"/>
            <ac:graphicFrameMk id="9" creationId="{00000000-0000-0000-0000-000000000000}"/>
          </ac:graphicFrameMkLst>
        </pc:graphicFrameChg>
      </pc:sldChg>
      <pc:sldChg chg="addSp delSp modSp mod">
        <pc:chgData name="Meyer Raphael (PAR-ES)" userId="79615dfe-ed48-4e74-a40f-4f7b034c1c27" providerId="ADAL" clId="{46E68D57-EC4A-48B9-B328-0E92837B872C}" dt="2021-11-04T10:48:15.515" v="103"/>
        <pc:sldMkLst>
          <pc:docMk/>
          <pc:sldMk cId="1065586608" sldId="273"/>
        </pc:sldMkLst>
        <pc:spChg chg="mod">
          <ac:chgData name="Meyer Raphael (PAR-ES)" userId="79615dfe-ed48-4e74-a40f-4f7b034c1c27" providerId="ADAL" clId="{46E68D57-EC4A-48B9-B328-0E92837B872C}" dt="2021-11-04T10:48:10.691" v="102" actId="21"/>
          <ac:spMkLst>
            <pc:docMk/>
            <pc:sldMk cId="1065586608" sldId="273"/>
            <ac:spMk id="2" creationId="{00000000-0000-0000-0000-000000000000}"/>
          </ac:spMkLst>
        </pc:spChg>
        <pc:spChg chg="del">
          <ac:chgData name="Meyer Raphael (PAR-ES)" userId="79615dfe-ed48-4e74-a40f-4f7b034c1c27" providerId="ADAL" clId="{46E68D57-EC4A-48B9-B328-0E92837B872C}" dt="2021-11-04T10:47:42.874" v="98" actId="478"/>
          <ac:spMkLst>
            <pc:docMk/>
            <pc:sldMk cId="1065586608" sldId="273"/>
            <ac:spMk id="5" creationId="{00000000-0000-0000-0000-000000000000}"/>
          </ac:spMkLst>
        </pc:spChg>
        <pc:spChg chg="add mod">
          <ac:chgData name="Meyer Raphael (PAR-ES)" userId="79615dfe-ed48-4e74-a40f-4f7b034c1c27" providerId="ADAL" clId="{46E68D57-EC4A-48B9-B328-0E92837B872C}" dt="2021-11-04T10:47:38.596" v="97"/>
          <ac:spMkLst>
            <pc:docMk/>
            <pc:sldMk cId="1065586608" sldId="273"/>
            <ac:spMk id="6" creationId="{E0F162F0-F370-43B9-9CC4-2142C851FD99}"/>
          </ac:spMkLst>
        </pc:spChg>
        <pc:spChg chg="add mod">
          <ac:chgData name="Meyer Raphael (PAR-ES)" userId="79615dfe-ed48-4e74-a40f-4f7b034c1c27" providerId="ADAL" clId="{46E68D57-EC4A-48B9-B328-0E92837B872C}" dt="2021-11-04T10:48:15.515" v="103"/>
          <ac:spMkLst>
            <pc:docMk/>
            <pc:sldMk cId="1065586608" sldId="273"/>
            <ac:spMk id="7" creationId="{79CA5D86-E4EE-4B06-939E-8A7198BAD8B9}"/>
          </ac:spMkLst>
        </pc:spChg>
        <pc:graphicFrameChg chg="mod">
          <ac:chgData name="Meyer Raphael (PAR-ES)" userId="79615dfe-ed48-4e74-a40f-4f7b034c1c27" providerId="ADAL" clId="{46E68D57-EC4A-48B9-B328-0E92837B872C}" dt="2021-11-04T10:32:17.259" v="9" actId="207"/>
          <ac:graphicFrameMkLst>
            <pc:docMk/>
            <pc:sldMk cId="1065586608" sldId="273"/>
            <ac:graphicFrameMk id="9" creationId="{00000000-0000-0000-0000-000000000000}"/>
          </ac:graphicFrameMkLst>
        </pc:graphicFrameChg>
      </pc:sldChg>
      <pc:sldChg chg="addSp modSp add del mod">
        <pc:chgData name="Meyer Raphael (PAR-ES)" userId="79615dfe-ed48-4e74-a40f-4f7b034c1c27" providerId="ADAL" clId="{46E68D57-EC4A-48B9-B328-0E92837B872C}" dt="2021-11-04T10:27:45.248" v="7" actId="47"/>
        <pc:sldMkLst>
          <pc:docMk/>
          <pc:sldMk cId="1265215366" sldId="274"/>
        </pc:sldMkLst>
        <pc:spChg chg="add mod">
          <ac:chgData name="Meyer Raphael (PAR-ES)" userId="79615dfe-ed48-4e74-a40f-4f7b034c1c27" providerId="ADAL" clId="{46E68D57-EC4A-48B9-B328-0E92837B872C}" dt="2021-11-04T10:27:34.679" v="3"/>
          <ac:spMkLst>
            <pc:docMk/>
            <pc:sldMk cId="1265215366" sldId="274"/>
            <ac:spMk id="8" creationId="{A00CF08C-850D-4011-ACFC-DD6A026BC1CB}"/>
          </ac:spMkLst>
        </pc:spChg>
        <pc:spChg chg="mod">
          <ac:chgData name="Meyer Raphael (PAR-ES)" userId="79615dfe-ed48-4e74-a40f-4f7b034c1c27" providerId="ADAL" clId="{46E68D57-EC4A-48B9-B328-0E92837B872C}" dt="2021-11-04T10:14:41.931" v="2" actId="1076"/>
          <ac:spMkLst>
            <pc:docMk/>
            <pc:sldMk cId="1265215366" sldId="274"/>
            <ac:spMk id="10" creationId="{41B9B9AB-4B12-4760-AF37-4FABDDFAE68B}"/>
          </ac:spMkLst>
        </pc:spChg>
      </pc:sldChg>
    </pc:docChg>
  </pc:docChgLst>
  <pc:docChgLst>
    <pc:chgData name="Meyer Raphael (PAR-ES)" userId="79615dfe-ed48-4e74-a40f-4f7b034c1c27" providerId="ADAL" clId="{34058080-7696-4E4E-B4DE-D9FA9E966716}"/>
    <pc:docChg chg="undo custSel addSld delSld modSld sldOrd">
      <pc:chgData name="Meyer Raphael (PAR-ES)" userId="79615dfe-ed48-4e74-a40f-4f7b034c1c27" providerId="ADAL" clId="{34058080-7696-4E4E-B4DE-D9FA9E966716}" dt="2021-05-20T07:12:52.192" v="110" actId="1038"/>
      <pc:docMkLst>
        <pc:docMk/>
      </pc:docMkLst>
      <pc:sldChg chg="modSp mod">
        <pc:chgData name="Meyer Raphael (PAR-ES)" userId="79615dfe-ed48-4e74-a40f-4f7b034c1c27" providerId="ADAL" clId="{34058080-7696-4E4E-B4DE-D9FA9E966716}" dt="2021-05-20T07:12:47.022" v="109" actId="1038"/>
        <pc:sldMkLst>
          <pc:docMk/>
          <pc:sldMk cId="1667945532" sldId="306"/>
        </pc:sldMkLst>
        <pc:spChg chg="mod">
          <ac:chgData name="Meyer Raphael (PAR-ES)" userId="79615dfe-ed48-4e74-a40f-4f7b034c1c27" providerId="ADAL" clId="{34058080-7696-4E4E-B4DE-D9FA9E966716}" dt="2021-05-20T07:02:45.308" v="27" actId="20577"/>
          <ac:spMkLst>
            <pc:docMk/>
            <pc:sldMk cId="1667945532" sldId="306"/>
            <ac:spMk id="8" creationId="{5857C2A1-2CB8-4D4A-AEFD-E809BF73D04F}"/>
          </ac:spMkLst>
        </pc:spChg>
        <pc:spChg chg="mod">
          <ac:chgData name="Meyer Raphael (PAR-ES)" userId="79615dfe-ed48-4e74-a40f-4f7b034c1c27" providerId="ADAL" clId="{34058080-7696-4E4E-B4DE-D9FA9E966716}" dt="2021-05-20T07:07:39.642" v="68" actId="20577"/>
          <ac:spMkLst>
            <pc:docMk/>
            <pc:sldMk cId="1667945532" sldId="306"/>
            <ac:spMk id="27" creationId="{46A6B042-39EE-4A58-BBAA-13D52264B660}"/>
          </ac:spMkLst>
        </pc:spChg>
        <pc:spChg chg="mod">
          <ac:chgData name="Meyer Raphael (PAR-ES)" userId="79615dfe-ed48-4e74-a40f-4f7b034c1c27" providerId="ADAL" clId="{34058080-7696-4E4E-B4DE-D9FA9E966716}" dt="2021-05-20T07:05:47.304" v="50" actId="1076"/>
          <ac:spMkLst>
            <pc:docMk/>
            <pc:sldMk cId="1667945532" sldId="306"/>
            <ac:spMk id="28" creationId="{4492A3CD-6943-423D-BFEC-8129889E8B6F}"/>
          </ac:spMkLst>
        </pc:spChg>
        <pc:spChg chg="mod">
          <ac:chgData name="Meyer Raphael (PAR-ES)" userId="79615dfe-ed48-4e74-a40f-4f7b034c1c27" providerId="ADAL" clId="{34058080-7696-4E4E-B4DE-D9FA9E966716}" dt="2021-05-20T07:07:59.669" v="80" actId="20577"/>
          <ac:spMkLst>
            <pc:docMk/>
            <pc:sldMk cId="1667945532" sldId="306"/>
            <ac:spMk id="31" creationId="{7491A47D-CAD4-478D-8F3A-296FFCB799F9}"/>
          </ac:spMkLst>
        </pc:spChg>
        <pc:spChg chg="mod">
          <ac:chgData name="Meyer Raphael (PAR-ES)" userId="79615dfe-ed48-4e74-a40f-4f7b034c1c27" providerId="ADAL" clId="{34058080-7696-4E4E-B4DE-D9FA9E966716}" dt="2021-05-20T07:06:01.325" v="53" actId="1076"/>
          <ac:spMkLst>
            <pc:docMk/>
            <pc:sldMk cId="1667945532" sldId="306"/>
            <ac:spMk id="32" creationId="{E65DDA4F-7190-4D5B-B875-6818D18C9F6E}"/>
          </ac:spMkLst>
        </pc:spChg>
        <pc:cxnChg chg="mod">
          <ac:chgData name="Meyer Raphael (PAR-ES)" userId="79615dfe-ed48-4e74-a40f-4f7b034c1c27" providerId="ADAL" clId="{34058080-7696-4E4E-B4DE-D9FA9E966716}" dt="2021-05-20T07:12:47.022" v="109" actId="1038"/>
          <ac:cxnSpMkLst>
            <pc:docMk/>
            <pc:sldMk cId="1667945532" sldId="306"/>
            <ac:cxnSpMk id="20" creationId="{07FCC63F-5E2F-43DF-84ED-5FFEC92A0042}"/>
          </ac:cxnSpMkLst>
        </pc:cxnChg>
        <pc:cxnChg chg="mod">
          <ac:chgData name="Meyer Raphael (PAR-ES)" userId="79615dfe-ed48-4e74-a40f-4f7b034c1c27" providerId="ADAL" clId="{34058080-7696-4E4E-B4DE-D9FA9E966716}" dt="2021-05-20T07:06:27.823" v="62" actId="1038"/>
          <ac:cxnSpMkLst>
            <pc:docMk/>
            <pc:sldMk cId="1667945532" sldId="306"/>
            <ac:cxnSpMk id="29" creationId="{FD3E902F-283F-48FC-9504-FF2FF4EA4BF0}"/>
          </ac:cxnSpMkLst>
        </pc:cxnChg>
        <pc:cxnChg chg="mod">
          <ac:chgData name="Meyer Raphael (PAR-ES)" userId="79615dfe-ed48-4e74-a40f-4f7b034c1c27" providerId="ADAL" clId="{34058080-7696-4E4E-B4DE-D9FA9E966716}" dt="2021-05-20T07:06:20.784" v="60" actId="1038"/>
          <ac:cxnSpMkLst>
            <pc:docMk/>
            <pc:sldMk cId="1667945532" sldId="306"/>
            <ac:cxnSpMk id="30" creationId="{1D702FCA-793F-404B-84D5-F14C318BFFB3}"/>
          </ac:cxnSpMkLst>
        </pc:cxnChg>
      </pc:sldChg>
      <pc:sldChg chg="del">
        <pc:chgData name="Meyer Raphael (PAR-ES)" userId="79615dfe-ed48-4e74-a40f-4f7b034c1c27" providerId="ADAL" clId="{34058080-7696-4E4E-B4DE-D9FA9E966716}" dt="2021-05-20T07:09:59.910" v="92" actId="47"/>
        <pc:sldMkLst>
          <pc:docMk/>
          <pc:sldMk cId="283003333" sldId="354"/>
        </pc:sldMkLst>
      </pc:sldChg>
      <pc:sldChg chg="del">
        <pc:chgData name="Meyer Raphael (PAR-ES)" userId="79615dfe-ed48-4e74-a40f-4f7b034c1c27" providerId="ADAL" clId="{34058080-7696-4E4E-B4DE-D9FA9E966716}" dt="2021-05-20T07:12:19.163" v="103" actId="2696"/>
        <pc:sldMkLst>
          <pc:docMk/>
          <pc:sldMk cId="2212603589" sldId="355"/>
        </pc:sldMkLst>
      </pc:sldChg>
      <pc:sldChg chg="addSp delSp modSp add mod ord">
        <pc:chgData name="Meyer Raphael (PAR-ES)" userId="79615dfe-ed48-4e74-a40f-4f7b034c1c27" providerId="ADAL" clId="{34058080-7696-4E4E-B4DE-D9FA9E966716}" dt="2021-05-20T07:12:39.196" v="108" actId="1038"/>
        <pc:sldMkLst>
          <pc:docMk/>
          <pc:sldMk cId="1952189380" sldId="356"/>
        </pc:sldMkLst>
        <pc:spChg chg="mod">
          <ac:chgData name="Meyer Raphael (PAR-ES)" userId="79615dfe-ed48-4e74-a40f-4f7b034c1c27" providerId="ADAL" clId="{34058080-7696-4E4E-B4DE-D9FA9E966716}" dt="2021-05-20T07:08:47.411" v="89"/>
          <ac:spMkLst>
            <pc:docMk/>
            <pc:sldMk cId="1952189380" sldId="356"/>
            <ac:spMk id="2" creationId="{A2DC317F-F1F4-4624-8FC1-3B68C1DBB3DA}"/>
          </ac:spMkLst>
        </pc:spChg>
        <pc:spChg chg="del">
          <ac:chgData name="Meyer Raphael (PAR-ES)" userId="79615dfe-ed48-4e74-a40f-4f7b034c1c27" providerId="ADAL" clId="{34058080-7696-4E4E-B4DE-D9FA9E966716}" dt="2021-05-20T07:08:25.892" v="87" actId="478"/>
          <ac:spMkLst>
            <pc:docMk/>
            <pc:sldMk cId="1952189380" sldId="356"/>
            <ac:spMk id="7" creationId="{BA3F9A72-0541-4D1F-8CD8-1C2B8074FA1B}"/>
          </ac:spMkLst>
        </pc:spChg>
        <pc:spChg chg="mod">
          <ac:chgData name="Meyer Raphael (PAR-ES)" userId="79615dfe-ed48-4e74-a40f-4f7b034c1c27" providerId="ADAL" clId="{34058080-7696-4E4E-B4DE-D9FA9E966716}" dt="2021-05-20T07:12:33.188" v="107" actId="20577"/>
          <ac:spMkLst>
            <pc:docMk/>
            <pc:sldMk cId="1952189380" sldId="356"/>
            <ac:spMk id="8" creationId="{5857C2A1-2CB8-4D4A-AEFD-E809BF73D04F}"/>
          </ac:spMkLst>
        </pc:spChg>
        <pc:spChg chg="del">
          <ac:chgData name="Meyer Raphael (PAR-ES)" userId="79615dfe-ed48-4e74-a40f-4f7b034c1c27" providerId="ADAL" clId="{34058080-7696-4E4E-B4DE-D9FA9E966716}" dt="2021-05-20T07:08:25.892" v="87" actId="478"/>
          <ac:spMkLst>
            <pc:docMk/>
            <pc:sldMk cId="1952189380" sldId="356"/>
            <ac:spMk id="9" creationId="{B6990B61-32B2-4ADC-BF01-EDF7B4080F97}"/>
          </ac:spMkLst>
        </pc:spChg>
        <pc:spChg chg="mod">
          <ac:chgData name="Meyer Raphael (PAR-ES)" userId="79615dfe-ed48-4e74-a40f-4f7b034c1c27" providerId="ADAL" clId="{34058080-7696-4E4E-B4DE-D9FA9E966716}" dt="2021-05-20T07:09:02.388" v="90"/>
          <ac:spMkLst>
            <pc:docMk/>
            <pc:sldMk cId="1952189380" sldId="356"/>
            <ac:spMk id="10" creationId="{077DFD58-E5EE-4B68-9325-D935DB04DD40}"/>
          </ac:spMkLst>
        </pc:spChg>
        <pc:spChg chg="del">
          <ac:chgData name="Meyer Raphael (PAR-ES)" userId="79615dfe-ed48-4e74-a40f-4f7b034c1c27" providerId="ADAL" clId="{34058080-7696-4E4E-B4DE-D9FA9E966716}" dt="2021-05-20T07:08:25.892" v="87" actId="478"/>
          <ac:spMkLst>
            <pc:docMk/>
            <pc:sldMk cId="1952189380" sldId="356"/>
            <ac:spMk id="17" creationId="{785E740C-F94A-4208-8DFD-63A603C16577}"/>
          </ac:spMkLst>
        </pc:spChg>
        <pc:spChg chg="add mod">
          <ac:chgData name="Meyer Raphael (PAR-ES)" userId="79615dfe-ed48-4e74-a40f-4f7b034c1c27" providerId="ADAL" clId="{34058080-7696-4E4E-B4DE-D9FA9E966716}" dt="2021-05-20T07:08:36.355" v="88"/>
          <ac:spMkLst>
            <pc:docMk/>
            <pc:sldMk cId="1952189380" sldId="356"/>
            <ac:spMk id="21" creationId="{E68E7EE3-8B42-4FEE-8D53-08C4BE24C0EF}"/>
          </ac:spMkLst>
        </pc:spChg>
        <pc:spChg chg="add mod">
          <ac:chgData name="Meyer Raphael (PAR-ES)" userId="79615dfe-ed48-4e74-a40f-4f7b034c1c27" providerId="ADAL" clId="{34058080-7696-4E4E-B4DE-D9FA9E966716}" dt="2021-05-20T07:08:36.355" v="88"/>
          <ac:spMkLst>
            <pc:docMk/>
            <pc:sldMk cId="1952189380" sldId="356"/>
            <ac:spMk id="22" creationId="{B4E2CA27-B1E6-47FF-8EE3-0B3999F7C055}"/>
          </ac:spMkLst>
        </pc:spChg>
        <pc:spChg chg="add mod">
          <ac:chgData name="Meyer Raphael (PAR-ES)" userId="79615dfe-ed48-4e74-a40f-4f7b034c1c27" providerId="ADAL" clId="{34058080-7696-4E4E-B4DE-D9FA9E966716}" dt="2021-05-20T07:08:36.355" v="88"/>
          <ac:spMkLst>
            <pc:docMk/>
            <pc:sldMk cId="1952189380" sldId="356"/>
            <ac:spMk id="23" creationId="{0B9A5A25-A542-4536-B6A4-2B29273B2039}"/>
          </ac:spMkLst>
        </pc:spChg>
        <pc:spChg chg="add mod">
          <ac:chgData name="Meyer Raphael (PAR-ES)" userId="79615dfe-ed48-4e74-a40f-4f7b034c1c27" providerId="ADAL" clId="{34058080-7696-4E4E-B4DE-D9FA9E966716}" dt="2021-05-20T07:08:36.355" v="88"/>
          <ac:spMkLst>
            <pc:docMk/>
            <pc:sldMk cId="1952189380" sldId="356"/>
            <ac:spMk id="25" creationId="{2708F289-5AAF-42CB-BC70-6D30BF3A33B6}"/>
          </ac:spMkLst>
        </pc:spChg>
        <pc:spChg chg="del">
          <ac:chgData name="Meyer Raphael (PAR-ES)" userId="79615dfe-ed48-4e74-a40f-4f7b034c1c27" providerId="ADAL" clId="{34058080-7696-4E4E-B4DE-D9FA9E966716}" dt="2021-05-20T07:08:25.892" v="87" actId="478"/>
          <ac:spMkLst>
            <pc:docMk/>
            <pc:sldMk cId="1952189380" sldId="356"/>
            <ac:spMk id="26" creationId="{BFD498B5-D73E-4C8A-9FAF-B3547647538C}"/>
          </ac:spMkLst>
        </pc:spChg>
        <pc:spChg chg="mod">
          <ac:chgData name="Meyer Raphael (PAR-ES)" userId="79615dfe-ed48-4e74-a40f-4f7b034c1c27" providerId="ADAL" clId="{34058080-7696-4E4E-B4DE-D9FA9E966716}" dt="2021-05-20T07:09:18.269" v="91"/>
          <ac:spMkLst>
            <pc:docMk/>
            <pc:sldMk cId="1952189380" sldId="356"/>
            <ac:spMk id="27" creationId="{46A6B042-39EE-4A58-BBAA-13D52264B660}"/>
          </ac:spMkLst>
        </pc:spChg>
        <pc:cxnChg chg="mod">
          <ac:chgData name="Meyer Raphael (PAR-ES)" userId="79615dfe-ed48-4e74-a40f-4f7b034c1c27" providerId="ADAL" clId="{34058080-7696-4E4E-B4DE-D9FA9E966716}" dt="2021-05-20T07:12:39.196" v="108" actId="1038"/>
          <ac:cxnSpMkLst>
            <pc:docMk/>
            <pc:sldMk cId="1952189380" sldId="356"/>
            <ac:cxnSpMk id="20" creationId="{07FCC63F-5E2F-43DF-84ED-5FFEC92A0042}"/>
          </ac:cxnSpMkLst>
        </pc:cxnChg>
      </pc:sldChg>
      <pc:sldChg chg="addSp delSp modSp add mod ord">
        <pc:chgData name="Meyer Raphael (PAR-ES)" userId="79615dfe-ed48-4e74-a40f-4f7b034c1c27" providerId="ADAL" clId="{34058080-7696-4E4E-B4DE-D9FA9E966716}" dt="2021-05-20T07:12:52.192" v="110" actId="1038"/>
        <pc:sldMkLst>
          <pc:docMk/>
          <pc:sldMk cId="3480515475" sldId="357"/>
        </pc:sldMkLst>
        <pc:spChg chg="mod">
          <ac:chgData name="Meyer Raphael (PAR-ES)" userId="79615dfe-ed48-4e74-a40f-4f7b034c1c27" providerId="ADAL" clId="{34058080-7696-4E4E-B4DE-D9FA9E966716}" dt="2021-05-20T07:11:12.131" v="95"/>
          <ac:spMkLst>
            <pc:docMk/>
            <pc:sldMk cId="3480515475" sldId="357"/>
            <ac:spMk id="2" creationId="{A2DC317F-F1F4-4624-8FC1-3B68C1DBB3DA}"/>
          </ac:spMkLst>
        </pc:spChg>
        <pc:spChg chg="del">
          <ac:chgData name="Meyer Raphael (PAR-ES)" userId="79615dfe-ed48-4e74-a40f-4f7b034c1c27" providerId="ADAL" clId="{34058080-7696-4E4E-B4DE-D9FA9E966716}" dt="2021-05-20T07:10:54.720" v="93" actId="478"/>
          <ac:spMkLst>
            <pc:docMk/>
            <pc:sldMk cId="3480515475" sldId="357"/>
            <ac:spMk id="7" creationId="{BA3F9A72-0541-4D1F-8CD8-1C2B8074FA1B}"/>
          </ac:spMkLst>
        </pc:spChg>
        <pc:spChg chg="mod">
          <ac:chgData name="Meyer Raphael (PAR-ES)" userId="79615dfe-ed48-4e74-a40f-4f7b034c1c27" providerId="ADAL" clId="{34058080-7696-4E4E-B4DE-D9FA9E966716}" dt="2021-05-20T07:12:11.838" v="102" actId="14100"/>
          <ac:spMkLst>
            <pc:docMk/>
            <pc:sldMk cId="3480515475" sldId="357"/>
            <ac:spMk id="8" creationId="{5857C2A1-2CB8-4D4A-AEFD-E809BF73D04F}"/>
          </ac:spMkLst>
        </pc:spChg>
        <pc:spChg chg="del">
          <ac:chgData name="Meyer Raphael (PAR-ES)" userId="79615dfe-ed48-4e74-a40f-4f7b034c1c27" providerId="ADAL" clId="{34058080-7696-4E4E-B4DE-D9FA9E966716}" dt="2021-05-20T07:10:54.720" v="93" actId="478"/>
          <ac:spMkLst>
            <pc:docMk/>
            <pc:sldMk cId="3480515475" sldId="357"/>
            <ac:spMk id="9" creationId="{B6990B61-32B2-4ADC-BF01-EDF7B4080F97}"/>
          </ac:spMkLst>
        </pc:spChg>
        <pc:spChg chg="mod">
          <ac:chgData name="Meyer Raphael (PAR-ES)" userId="79615dfe-ed48-4e74-a40f-4f7b034c1c27" providerId="ADAL" clId="{34058080-7696-4E4E-B4DE-D9FA9E966716}" dt="2021-05-20T07:11:22.876" v="96"/>
          <ac:spMkLst>
            <pc:docMk/>
            <pc:sldMk cId="3480515475" sldId="357"/>
            <ac:spMk id="10" creationId="{077DFD58-E5EE-4B68-9325-D935DB04DD40}"/>
          </ac:spMkLst>
        </pc:spChg>
        <pc:spChg chg="del">
          <ac:chgData name="Meyer Raphael (PAR-ES)" userId="79615dfe-ed48-4e74-a40f-4f7b034c1c27" providerId="ADAL" clId="{34058080-7696-4E4E-B4DE-D9FA9E966716}" dt="2021-05-20T07:10:54.720" v="93" actId="478"/>
          <ac:spMkLst>
            <pc:docMk/>
            <pc:sldMk cId="3480515475" sldId="357"/>
            <ac:spMk id="17" creationId="{785E740C-F94A-4208-8DFD-63A603C16577}"/>
          </ac:spMkLst>
        </pc:spChg>
        <pc:spChg chg="add mod">
          <ac:chgData name="Meyer Raphael (PAR-ES)" userId="79615dfe-ed48-4e74-a40f-4f7b034c1c27" providerId="ADAL" clId="{34058080-7696-4E4E-B4DE-D9FA9E966716}" dt="2021-05-20T07:11:03.533" v="94"/>
          <ac:spMkLst>
            <pc:docMk/>
            <pc:sldMk cId="3480515475" sldId="357"/>
            <ac:spMk id="21" creationId="{F72EFDF1-FA83-4782-B1D5-7C4AFB360BA7}"/>
          </ac:spMkLst>
        </pc:spChg>
        <pc:spChg chg="add mod">
          <ac:chgData name="Meyer Raphael (PAR-ES)" userId="79615dfe-ed48-4e74-a40f-4f7b034c1c27" providerId="ADAL" clId="{34058080-7696-4E4E-B4DE-D9FA9E966716}" dt="2021-05-20T07:11:03.533" v="94"/>
          <ac:spMkLst>
            <pc:docMk/>
            <pc:sldMk cId="3480515475" sldId="357"/>
            <ac:spMk id="22" creationId="{58AF7E8E-0DAB-4E61-9D76-1EA9EBF82B58}"/>
          </ac:spMkLst>
        </pc:spChg>
        <pc:spChg chg="add mod">
          <ac:chgData name="Meyer Raphael (PAR-ES)" userId="79615dfe-ed48-4e74-a40f-4f7b034c1c27" providerId="ADAL" clId="{34058080-7696-4E4E-B4DE-D9FA9E966716}" dt="2021-05-20T07:11:03.533" v="94"/>
          <ac:spMkLst>
            <pc:docMk/>
            <pc:sldMk cId="3480515475" sldId="357"/>
            <ac:spMk id="23" creationId="{2E29F174-F265-4209-8FC7-984ABF017A9B}"/>
          </ac:spMkLst>
        </pc:spChg>
        <pc:spChg chg="add mod">
          <ac:chgData name="Meyer Raphael (PAR-ES)" userId="79615dfe-ed48-4e74-a40f-4f7b034c1c27" providerId="ADAL" clId="{34058080-7696-4E4E-B4DE-D9FA9E966716}" dt="2021-05-20T07:11:03.533" v="94"/>
          <ac:spMkLst>
            <pc:docMk/>
            <pc:sldMk cId="3480515475" sldId="357"/>
            <ac:spMk id="25" creationId="{15C255B4-85BA-4997-9FBE-A6058807AC3C}"/>
          </ac:spMkLst>
        </pc:spChg>
        <pc:spChg chg="del">
          <ac:chgData name="Meyer Raphael (PAR-ES)" userId="79615dfe-ed48-4e74-a40f-4f7b034c1c27" providerId="ADAL" clId="{34058080-7696-4E4E-B4DE-D9FA9E966716}" dt="2021-05-20T07:10:54.720" v="93" actId="478"/>
          <ac:spMkLst>
            <pc:docMk/>
            <pc:sldMk cId="3480515475" sldId="357"/>
            <ac:spMk id="26" creationId="{BFD498B5-D73E-4C8A-9FAF-B3547647538C}"/>
          </ac:spMkLst>
        </pc:spChg>
        <pc:spChg chg="mod">
          <ac:chgData name="Meyer Raphael (PAR-ES)" userId="79615dfe-ed48-4e74-a40f-4f7b034c1c27" providerId="ADAL" clId="{34058080-7696-4E4E-B4DE-D9FA9E966716}" dt="2021-05-20T07:11:59.631" v="100" actId="14100"/>
          <ac:spMkLst>
            <pc:docMk/>
            <pc:sldMk cId="3480515475" sldId="357"/>
            <ac:spMk id="27" creationId="{46A6B042-39EE-4A58-BBAA-13D52264B660}"/>
          </ac:spMkLst>
        </pc:spChg>
        <pc:cxnChg chg="mod">
          <ac:chgData name="Meyer Raphael (PAR-ES)" userId="79615dfe-ed48-4e74-a40f-4f7b034c1c27" providerId="ADAL" clId="{34058080-7696-4E4E-B4DE-D9FA9E966716}" dt="2021-05-20T07:12:52.192" v="110" actId="1038"/>
          <ac:cxnSpMkLst>
            <pc:docMk/>
            <pc:sldMk cId="3480515475" sldId="357"/>
            <ac:cxnSpMk id="20" creationId="{07FCC63F-5E2F-43DF-84ED-5FFEC92A0042}"/>
          </ac:cxnSpMkLst>
        </pc:cxnChg>
      </pc:sldChg>
    </pc:docChg>
  </pc:docChgLst>
  <pc:docChgLst>
    <pc:chgData name="Meyer Raphael (PAR-ES)" userId="79615dfe-ed48-4e74-a40f-4f7b034c1c27" providerId="ADAL" clId="{A8E92499-D9ED-4086-A668-D0FD04E05018}"/>
    <pc:docChg chg="delSld">
      <pc:chgData name="Meyer Raphael (PAR-ES)" userId="79615dfe-ed48-4e74-a40f-4f7b034c1c27" providerId="ADAL" clId="{A8E92499-D9ED-4086-A668-D0FD04E05018}" dt="2022-03-09T16:36:41.793" v="0" actId="47"/>
      <pc:docMkLst>
        <pc:docMk/>
      </pc:docMkLst>
      <pc:sldChg chg="del">
        <pc:chgData name="Meyer Raphael (PAR-ES)" userId="79615dfe-ed48-4e74-a40f-4f7b034c1c27" providerId="ADAL" clId="{A8E92499-D9ED-4086-A668-D0FD04E05018}" dt="2022-03-09T16:36:41.793" v="0" actId="47"/>
        <pc:sldMkLst>
          <pc:docMk/>
          <pc:sldMk cId="2868978950" sldId="416"/>
        </pc:sldMkLst>
      </pc:sldChg>
      <pc:sldChg chg="del">
        <pc:chgData name="Meyer Raphael (PAR-ES)" userId="79615dfe-ed48-4e74-a40f-4f7b034c1c27" providerId="ADAL" clId="{A8E92499-D9ED-4086-A668-D0FD04E05018}" dt="2022-03-09T16:36:41.793" v="0" actId="47"/>
        <pc:sldMkLst>
          <pc:docMk/>
          <pc:sldMk cId="976233813" sldId="417"/>
        </pc:sldMkLst>
      </pc:sldChg>
      <pc:sldChg chg="del">
        <pc:chgData name="Meyer Raphael (PAR-ES)" userId="79615dfe-ed48-4e74-a40f-4f7b034c1c27" providerId="ADAL" clId="{A8E92499-D9ED-4086-A668-D0FD04E05018}" dt="2022-03-09T16:36:41.793" v="0" actId="47"/>
        <pc:sldMkLst>
          <pc:docMk/>
          <pc:sldMk cId="407174717" sldId="418"/>
        </pc:sldMkLst>
      </pc:sldChg>
    </pc:docChg>
  </pc:docChgLst>
  <pc:docChgLst>
    <pc:chgData name="Meyer Raphael (PAR-ES)" userId="79615dfe-ed48-4e74-a40f-4f7b034c1c27" providerId="ADAL" clId="{9A7A89A4-F952-48D4-B14D-BB0B488F8908}"/>
    <pc:docChg chg="addSld modSld sldOrd">
      <pc:chgData name="Meyer Raphael (PAR-ES)" userId="79615dfe-ed48-4e74-a40f-4f7b034c1c27" providerId="ADAL" clId="{9A7A89A4-F952-48D4-B14D-BB0B488F8908}" dt="2021-02-02T13:52:51.990" v="64" actId="1076"/>
      <pc:docMkLst>
        <pc:docMk/>
      </pc:docMkLst>
      <pc:sldChg chg="modSp add mod ord">
        <pc:chgData name="Meyer Raphael (PAR-ES)" userId="79615dfe-ed48-4e74-a40f-4f7b034c1c27" providerId="ADAL" clId="{9A7A89A4-F952-48D4-B14D-BB0B488F8908}" dt="2021-02-02T13:52:51.990" v="64" actId="1076"/>
        <pc:sldMkLst>
          <pc:docMk/>
          <pc:sldMk cId="277025245" sldId="325"/>
        </pc:sldMkLst>
        <pc:spChg chg="mod">
          <ac:chgData name="Meyer Raphael (PAR-ES)" userId="79615dfe-ed48-4e74-a40f-4f7b034c1c27" providerId="ADAL" clId="{9A7A89A4-F952-48D4-B14D-BB0B488F8908}" dt="2021-02-02T13:43:36.763" v="57" actId="20577"/>
          <ac:spMkLst>
            <pc:docMk/>
            <pc:sldMk cId="277025245" sldId="325"/>
            <ac:spMk id="2" creationId="{A2DC317F-F1F4-4624-8FC1-3B68C1DBB3DA}"/>
          </ac:spMkLst>
        </pc:spChg>
        <pc:spChg chg="mod">
          <ac:chgData name="Meyer Raphael (PAR-ES)" userId="79615dfe-ed48-4e74-a40f-4f7b034c1c27" providerId="ADAL" clId="{9A7A89A4-F952-48D4-B14D-BB0B488F8908}" dt="2021-02-02T13:42:00.468" v="19" actId="1076"/>
          <ac:spMkLst>
            <pc:docMk/>
            <pc:sldMk cId="277025245" sldId="325"/>
            <ac:spMk id="6" creationId="{0EEE4EA3-E16E-424B-97F9-53A8F5D585AE}"/>
          </ac:spMkLst>
        </pc:spChg>
        <pc:spChg chg="mod">
          <ac:chgData name="Meyer Raphael (PAR-ES)" userId="79615dfe-ed48-4e74-a40f-4f7b034c1c27" providerId="ADAL" clId="{9A7A89A4-F952-48D4-B14D-BB0B488F8908}" dt="2021-02-02T13:52:51.990" v="64" actId="1076"/>
          <ac:spMkLst>
            <pc:docMk/>
            <pc:sldMk cId="277025245" sldId="325"/>
            <ac:spMk id="15" creationId="{CC1F0CCA-7B55-41F9-A1FF-769ED7C753BD}"/>
          </ac:spMkLst>
        </pc:spChg>
        <pc:graphicFrameChg chg="mod">
          <ac:chgData name="Meyer Raphael (PAR-ES)" userId="79615dfe-ed48-4e74-a40f-4f7b034c1c27" providerId="ADAL" clId="{9A7A89A4-F952-48D4-B14D-BB0B488F8908}" dt="2021-02-02T13:46:24.028" v="63"/>
          <ac:graphicFrameMkLst>
            <pc:docMk/>
            <pc:sldMk cId="277025245" sldId="325"/>
            <ac:graphicFrameMk id="5" creationId="{4CF6AB8B-CAB9-4C7E-8E59-E00357A4D7F0}"/>
          </ac:graphicFrameMkLst>
        </pc:graphicFrameChg>
      </pc:sldChg>
    </pc:docChg>
  </pc:docChgLst>
  <pc:docChgLst>
    <pc:chgData name="Meyer Raphael (PAR-ES)" userId="79615dfe-ed48-4e74-a40f-4f7b034c1c27" providerId="ADAL" clId="{78FD9AF3-DD98-49F5-BF8B-FC56F13A595F}"/>
    <pc:docChg chg="custSel addSld delSld modSld">
      <pc:chgData name="Meyer Raphael (PAR-ES)" userId="79615dfe-ed48-4e74-a40f-4f7b034c1c27" providerId="ADAL" clId="{78FD9AF3-DD98-49F5-BF8B-FC56F13A595F}" dt="2022-03-09T13:58:52.464" v="97" actId="27918"/>
      <pc:docMkLst>
        <pc:docMk/>
      </pc:docMkLst>
      <pc:sldChg chg="del">
        <pc:chgData name="Meyer Raphael (PAR-ES)" userId="79615dfe-ed48-4e74-a40f-4f7b034c1c27" providerId="ADAL" clId="{78FD9AF3-DD98-49F5-BF8B-FC56F13A595F}" dt="2022-03-09T13:45:01.459" v="0" actId="47"/>
        <pc:sldMkLst>
          <pc:docMk/>
          <pc:sldMk cId="2641487227" sldId="271"/>
        </pc:sldMkLst>
      </pc:sldChg>
      <pc:sldChg chg="mod">
        <pc:chgData name="Meyer Raphael (PAR-ES)" userId="79615dfe-ed48-4e74-a40f-4f7b034c1c27" providerId="ADAL" clId="{78FD9AF3-DD98-49F5-BF8B-FC56F13A595F}" dt="2022-03-09T13:50:26.671" v="22" actId="27918"/>
        <pc:sldMkLst>
          <pc:docMk/>
          <pc:sldMk cId="3064315074" sldId="413"/>
        </pc:sldMkLst>
      </pc:sldChg>
      <pc:sldChg chg="modSp add mod">
        <pc:chgData name="Meyer Raphael (PAR-ES)" userId="79615dfe-ed48-4e74-a40f-4f7b034c1c27" providerId="ADAL" clId="{78FD9AF3-DD98-49F5-BF8B-FC56F13A595F}" dt="2022-03-09T13:52:40.046" v="43"/>
        <pc:sldMkLst>
          <pc:docMk/>
          <pc:sldMk cId="1214120989" sldId="414"/>
        </pc:sldMkLst>
        <pc:spChg chg="mod">
          <ac:chgData name="Meyer Raphael (PAR-ES)" userId="79615dfe-ed48-4e74-a40f-4f7b034c1c27" providerId="ADAL" clId="{78FD9AF3-DD98-49F5-BF8B-FC56F13A595F}" dt="2022-03-09T13:51:13.864" v="30" actId="20577"/>
          <ac:spMkLst>
            <pc:docMk/>
            <pc:sldMk cId="1214120989" sldId="414"/>
            <ac:spMk id="2" creationId="{00000000-0000-0000-0000-000000000000}"/>
          </ac:spMkLst>
        </pc:spChg>
        <pc:spChg chg="mod">
          <ac:chgData name="Meyer Raphael (PAR-ES)" userId="79615dfe-ed48-4e74-a40f-4f7b034c1c27" providerId="ADAL" clId="{78FD9AF3-DD98-49F5-BF8B-FC56F13A595F}" dt="2022-03-09T13:51:37.128" v="37" actId="20577"/>
          <ac:spMkLst>
            <pc:docMk/>
            <pc:sldMk cId="1214120989" sldId="414"/>
            <ac:spMk id="11" creationId="{51A102DA-4F4E-474F-9E16-1E7F70764A16}"/>
          </ac:spMkLst>
        </pc:spChg>
        <pc:spChg chg="mod">
          <ac:chgData name="Meyer Raphael (PAR-ES)" userId="79615dfe-ed48-4e74-a40f-4f7b034c1c27" providerId="ADAL" clId="{78FD9AF3-DD98-49F5-BF8B-FC56F13A595F}" dt="2022-03-09T13:52:40.046" v="43"/>
          <ac:spMkLst>
            <pc:docMk/>
            <pc:sldMk cId="1214120989" sldId="414"/>
            <ac:spMk id="12" creationId="{00D4BB6A-0DD0-4B80-9845-0467B947A6BE}"/>
          </ac:spMkLst>
        </pc:spChg>
      </pc:sldChg>
      <pc:sldChg chg="modSp add del mod">
        <pc:chgData name="Meyer Raphael (PAR-ES)" userId="79615dfe-ed48-4e74-a40f-4f7b034c1c27" providerId="ADAL" clId="{78FD9AF3-DD98-49F5-BF8B-FC56F13A595F}" dt="2022-03-09T13:49:09.503" v="19" actId="47"/>
        <pc:sldMkLst>
          <pc:docMk/>
          <pc:sldMk cId="1298817908" sldId="414"/>
        </pc:sldMkLst>
        <pc:spChg chg="mod">
          <ac:chgData name="Meyer Raphael (PAR-ES)" userId="79615dfe-ed48-4e74-a40f-4f7b034c1c27" providerId="ADAL" clId="{78FD9AF3-DD98-49F5-BF8B-FC56F13A595F}" dt="2022-03-09T13:46:41.249" v="4"/>
          <ac:spMkLst>
            <pc:docMk/>
            <pc:sldMk cId="1298817908" sldId="414"/>
            <ac:spMk id="2" creationId="{00000000-0000-0000-0000-000000000000}"/>
          </ac:spMkLst>
        </pc:spChg>
        <pc:spChg chg="mod">
          <ac:chgData name="Meyer Raphael (PAR-ES)" userId="79615dfe-ed48-4e74-a40f-4f7b034c1c27" providerId="ADAL" clId="{78FD9AF3-DD98-49F5-BF8B-FC56F13A595F}" dt="2022-03-09T13:47:10.506" v="12" actId="20577"/>
          <ac:spMkLst>
            <pc:docMk/>
            <pc:sldMk cId="1298817908" sldId="414"/>
            <ac:spMk id="11" creationId="{51A102DA-4F4E-474F-9E16-1E7F70764A16}"/>
          </ac:spMkLst>
        </pc:spChg>
        <pc:spChg chg="mod">
          <ac:chgData name="Meyer Raphael (PAR-ES)" userId="79615dfe-ed48-4e74-a40f-4f7b034c1c27" providerId="ADAL" clId="{78FD9AF3-DD98-49F5-BF8B-FC56F13A595F}" dt="2022-03-09T13:46:51.898" v="5"/>
          <ac:spMkLst>
            <pc:docMk/>
            <pc:sldMk cId="1298817908" sldId="414"/>
            <ac:spMk id="12" creationId="{00D4BB6A-0DD0-4B80-9845-0467B947A6BE}"/>
          </ac:spMkLst>
        </pc:spChg>
      </pc:sldChg>
      <pc:sldChg chg="add del">
        <pc:chgData name="Meyer Raphael (PAR-ES)" userId="79615dfe-ed48-4e74-a40f-4f7b034c1c27" providerId="ADAL" clId="{78FD9AF3-DD98-49F5-BF8B-FC56F13A595F}" dt="2022-03-09T13:49:09.503" v="19" actId="47"/>
        <pc:sldMkLst>
          <pc:docMk/>
          <pc:sldMk cId="3764143661" sldId="415"/>
        </pc:sldMkLst>
      </pc:sldChg>
      <pc:sldChg chg="modSp add mod">
        <pc:chgData name="Meyer Raphael (PAR-ES)" userId="79615dfe-ed48-4e74-a40f-4f7b034c1c27" providerId="ADAL" clId="{78FD9AF3-DD98-49F5-BF8B-FC56F13A595F}" dt="2022-03-09T13:55:39.628" v="75" actId="27918"/>
        <pc:sldMkLst>
          <pc:docMk/>
          <pc:sldMk cId="3878003729" sldId="415"/>
        </pc:sldMkLst>
        <pc:spChg chg="mod">
          <ac:chgData name="Meyer Raphael (PAR-ES)" userId="79615dfe-ed48-4e74-a40f-4f7b034c1c27" providerId="ADAL" clId="{78FD9AF3-DD98-49F5-BF8B-FC56F13A595F}" dt="2022-03-09T13:53:38.095" v="48" actId="20577"/>
          <ac:spMkLst>
            <pc:docMk/>
            <pc:sldMk cId="3878003729" sldId="415"/>
            <ac:spMk id="2" creationId="{00000000-0000-0000-0000-000000000000}"/>
          </ac:spMkLst>
        </pc:spChg>
        <pc:spChg chg="mod">
          <ac:chgData name="Meyer Raphael (PAR-ES)" userId="79615dfe-ed48-4e74-a40f-4f7b034c1c27" providerId="ADAL" clId="{78FD9AF3-DD98-49F5-BF8B-FC56F13A595F}" dt="2022-03-09T13:54:22.863" v="60" actId="20577"/>
          <ac:spMkLst>
            <pc:docMk/>
            <pc:sldMk cId="3878003729" sldId="415"/>
            <ac:spMk id="11" creationId="{51A102DA-4F4E-474F-9E16-1E7F70764A16}"/>
          </ac:spMkLst>
        </pc:spChg>
        <pc:spChg chg="mod">
          <ac:chgData name="Meyer Raphael (PAR-ES)" userId="79615dfe-ed48-4e74-a40f-4f7b034c1c27" providerId="ADAL" clId="{78FD9AF3-DD98-49F5-BF8B-FC56F13A595F}" dt="2022-03-09T13:53:49.614" v="49"/>
          <ac:spMkLst>
            <pc:docMk/>
            <pc:sldMk cId="3878003729" sldId="415"/>
            <ac:spMk id="12" creationId="{00D4BB6A-0DD0-4B80-9845-0467B947A6BE}"/>
          </ac:spMkLst>
        </pc:spChg>
        <pc:spChg chg="mod">
          <ac:chgData name="Meyer Raphael (PAR-ES)" userId="79615dfe-ed48-4e74-a40f-4f7b034c1c27" providerId="ADAL" clId="{78FD9AF3-DD98-49F5-BF8B-FC56F13A595F}" dt="2022-03-09T13:54:39.731" v="66" actId="20577"/>
          <ac:spMkLst>
            <pc:docMk/>
            <pc:sldMk cId="3878003729" sldId="415"/>
            <ac:spMk id="13" creationId="{CB2EBD8C-0882-42C3-B5F5-BA01B7BFF2C3}"/>
          </ac:spMkLst>
        </pc:spChg>
      </pc:sldChg>
      <pc:sldChg chg="modSp add mod">
        <pc:chgData name="Meyer Raphael (PAR-ES)" userId="79615dfe-ed48-4e74-a40f-4f7b034c1c27" providerId="ADAL" clId="{78FD9AF3-DD98-49F5-BF8B-FC56F13A595F}" dt="2022-03-09T13:58:52.464" v="97" actId="27918"/>
        <pc:sldMkLst>
          <pc:docMk/>
          <pc:sldMk cId="2150380132" sldId="416"/>
        </pc:sldMkLst>
        <pc:spChg chg="mod">
          <ac:chgData name="Meyer Raphael (PAR-ES)" userId="79615dfe-ed48-4e74-a40f-4f7b034c1c27" providerId="ADAL" clId="{78FD9AF3-DD98-49F5-BF8B-FC56F13A595F}" dt="2022-03-09T13:56:38.884" v="80" actId="20577"/>
          <ac:spMkLst>
            <pc:docMk/>
            <pc:sldMk cId="2150380132" sldId="416"/>
            <ac:spMk id="2" creationId="{00000000-0000-0000-0000-000000000000}"/>
          </ac:spMkLst>
        </pc:spChg>
        <pc:spChg chg="mod">
          <ac:chgData name="Meyer Raphael (PAR-ES)" userId="79615dfe-ed48-4e74-a40f-4f7b034c1c27" providerId="ADAL" clId="{78FD9AF3-DD98-49F5-BF8B-FC56F13A595F}" dt="2022-03-09T13:57:02.897" v="86" actId="20577"/>
          <ac:spMkLst>
            <pc:docMk/>
            <pc:sldMk cId="2150380132" sldId="416"/>
            <ac:spMk id="11" creationId="{51A102DA-4F4E-474F-9E16-1E7F70764A16}"/>
          </ac:spMkLst>
        </pc:spChg>
        <pc:spChg chg="mod">
          <ac:chgData name="Meyer Raphael (PAR-ES)" userId="79615dfe-ed48-4e74-a40f-4f7b034c1c27" providerId="ADAL" clId="{78FD9AF3-DD98-49F5-BF8B-FC56F13A595F}" dt="2022-03-09T13:56:50.781" v="81"/>
          <ac:spMkLst>
            <pc:docMk/>
            <pc:sldMk cId="2150380132" sldId="416"/>
            <ac:spMk id="12" creationId="{00D4BB6A-0DD0-4B80-9845-0467B947A6BE}"/>
          </ac:spMkLst>
        </pc:spChg>
        <pc:spChg chg="mod">
          <ac:chgData name="Meyer Raphael (PAR-ES)" userId="79615dfe-ed48-4e74-a40f-4f7b034c1c27" providerId="ADAL" clId="{78FD9AF3-DD98-49F5-BF8B-FC56F13A595F}" dt="2022-03-09T13:57:39.484" v="92" actId="20577"/>
          <ac:spMkLst>
            <pc:docMk/>
            <pc:sldMk cId="2150380132" sldId="416"/>
            <ac:spMk id="13" creationId="{CB2EBD8C-0882-42C3-B5F5-BA01B7BFF2C3}"/>
          </ac:spMkLst>
        </pc:spChg>
      </pc:sldChg>
      <pc:sldChg chg="add del">
        <pc:chgData name="Meyer Raphael (PAR-ES)" userId="79615dfe-ed48-4e74-a40f-4f7b034c1c27" providerId="ADAL" clId="{78FD9AF3-DD98-49F5-BF8B-FC56F13A595F}" dt="2022-03-09T13:49:09.503" v="19" actId="47"/>
        <pc:sldMkLst>
          <pc:docMk/>
          <pc:sldMk cId="2931763869" sldId="416"/>
        </pc:sldMkLst>
      </pc:sldChg>
    </pc:docChg>
  </pc:docChgLst>
  <pc:docChgLst>
    <pc:chgData name="Meyer Raphael (PAR-ES)" userId="79615dfe-ed48-4e74-a40f-4f7b034c1c27" providerId="ADAL" clId="{8ED4C5ED-7DA1-4D25-AE40-43BBDDBEAFEC}"/>
    <pc:docChg chg="custSel addSld delSld modSld sldOrd">
      <pc:chgData name="Meyer Raphael (PAR-ES)" userId="79615dfe-ed48-4e74-a40f-4f7b034c1c27" providerId="ADAL" clId="{8ED4C5ED-7DA1-4D25-AE40-43BBDDBEAFEC}" dt="2021-03-04T08:12:15.835" v="109"/>
      <pc:docMkLst>
        <pc:docMk/>
      </pc:docMkLst>
      <pc:sldChg chg="modSp mod">
        <pc:chgData name="Meyer Raphael (PAR-ES)" userId="79615dfe-ed48-4e74-a40f-4f7b034c1c27" providerId="ADAL" clId="{8ED4C5ED-7DA1-4D25-AE40-43BBDDBEAFEC}" dt="2021-03-04T08:11:56.176" v="105" actId="1076"/>
        <pc:sldMkLst>
          <pc:docMk/>
          <pc:sldMk cId="1667945532" sldId="306"/>
        </pc:sldMkLst>
        <pc:spChg chg="mod">
          <ac:chgData name="Meyer Raphael (PAR-ES)" userId="79615dfe-ed48-4e74-a40f-4f7b034c1c27" providerId="ADAL" clId="{8ED4C5ED-7DA1-4D25-AE40-43BBDDBEAFEC}" dt="2021-03-04T08:05:50.343" v="73" actId="1076"/>
          <ac:spMkLst>
            <pc:docMk/>
            <pc:sldMk cId="1667945532" sldId="306"/>
            <ac:spMk id="8" creationId="{5857C2A1-2CB8-4D4A-AEFD-E809BF73D04F}"/>
          </ac:spMkLst>
        </pc:spChg>
        <pc:spChg chg="mod">
          <ac:chgData name="Meyer Raphael (PAR-ES)" userId="79615dfe-ed48-4e74-a40f-4f7b034c1c27" providerId="ADAL" clId="{8ED4C5ED-7DA1-4D25-AE40-43BBDDBEAFEC}" dt="2021-03-04T07:58:43.994" v="13" actId="20577"/>
          <ac:spMkLst>
            <pc:docMk/>
            <pc:sldMk cId="1667945532" sldId="306"/>
            <ac:spMk id="27" creationId="{46A6B042-39EE-4A58-BBAA-13D52264B660}"/>
          </ac:spMkLst>
        </pc:spChg>
        <pc:spChg chg="mod">
          <ac:chgData name="Meyer Raphael (PAR-ES)" userId="79615dfe-ed48-4e74-a40f-4f7b034c1c27" providerId="ADAL" clId="{8ED4C5ED-7DA1-4D25-AE40-43BBDDBEAFEC}" dt="2021-03-04T08:11:56.176" v="105" actId="1076"/>
          <ac:spMkLst>
            <pc:docMk/>
            <pc:sldMk cId="1667945532" sldId="306"/>
            <ac:spMk id="28" creationId="{4492A3CD-6943-423D-BFEC-8129889E8B6F}"/>
          </ac:spMkLst>
        </pc:spChg>
        <pc:spChg chg="mod">
          <ac:chgData name="Meyer Raphael (PAR-ES)" userId="79615dfe-ed48-4e74-a40f-4f7b034c1c27" providerId="ADAL" clId="{8ED4C5ED-7DA1-4D25-AE40-43BBDDBEAFEC}" dt="2021-03-04T07:58:59.544" v="17" actId="20577"/>
          <ac:spMkLst>
            <pc:docMk/>
            <pc:sldMk cId="1667945532" sldId="306"/>
            <ac:spMk id="31" creationId="{7491A47D-CAD4-478D-8F3A-296FFCB799F9}"/>
          </ac:spMkLst>
        </pc:spChg>
        <pc:cxnChg chg="mod">
          <ac:chgData name="Meyer Raphael (PAR-ES)" userId="79615dfe-ed48-4e74-a40f-4f7b034c1c27" providerId="ADAL" clId="{8ED4C5ED-7DA1-4D25-AE40-43BBDDBEAFEC}" dt="2021-03-04T08:05:36.734" v="71" actId="1076"/>
          <ac:cxnSpMkLst>
            <pc:docMk/>
            <pc:sldMk cId="1667945532" sldId="306"/>
            <ac:cxnSpMk id="20" creationId="{07FCC63F-5E2F-43DF-84ED-5FFEC92A0042}"/>
          </ac:cxnSpMkLst>
        </pc:cxnChg>
      </pc:sldChg>
      <pc:sldChg chg="del ord">
        <pc:chgData name="Meyer Raphael (PAR-ES)" userId="79615dfe-ed48-4e74-a40f-4f7b034c1c27" providerId="ADAL" clId="{8ED4C5ED-7DA1-4D25-AE40-43BBDDBEAFEC}" dt="2021-03-04T08:09:58.474" v="93" actId="2696"/>
        <pc:sldMkLst>
          <pc:docMk/>
          <pc:sldMk cId="423704220" sldId="332"/>
        </pc:sldMkLst>
      </pc:sldChg>
      <pc:sldChg chg="modSp del ord">
        <pc:chgData name="Meyer Raphael (PAR-ES)" userId="79615dfe-ed48-4e74-a40f-4f7b034c1c27" providerId="ADAL" clId="{8ED4C5ED-7DA1-4D25-AE40-43BBDDBEAFEC}" dt="2021-03-04T08:11:30.113" v="104" actId="2696"/>
        <pc:sldMkLst>
          <pc:docMk/>
          <pc:sldMk cId="3676330928" sldId="333"/>
        </pc:sldMkLst>
        <pc:spChg chg="mod">
          <ac:chgData name="Meyer Raphael (PAR-ES)" userId="79615dfe-ed48-4e74-a40f-4f7b034c1c27" providerId="ADAL" clId="{8ED4C5ED-7DA1-4D25-AE40-43BBDDBEAFEC}" dt="2021-03-04T08:11:01.674" v="102"/>
          <ac:spMkLst>
            <pc:docMk/>
            <pc:sldMk cId="3676330928" sldId="333"/>
            <ac:spMk id="10" creationId="{077DFD58-E5EE-4B68-9325-D935DB04DD40}"/>
          </ac:spMkLst>
        </pc:spChg>
      </pc:sldChg>
      <pc:sldChg chg="addSp delSp modSp add">
        <pc:chgData name="Meyer Raphael (PAR-ES)" userId="79615dfe-ed48-4e74-a40f-4f7b034c1c27" providerId="ADAL" clId="{8ED4C5ED-7DA1-4D25-AE40-43BBDDBEAFEC}" dt="2021-03-04T08:12:14.834" v="108"/>
        <pc:sldMkLst>
          <pc:docMk/>
          <pc:sldMk cId="1837760195" sldId="334"/>
        </pc:sldMkLst>
        <pc:spChg chg="mod">
          <ac:chgData name="Meyer Raphael (PAR-ES)" userId="79615dfe-ed48-4e74-a40f-4f7b034c1c27" providerId="ADAL" clId="{8ED4C5ED-7DA1-4D25-AE40-43BBDDBEAFEC}" dt="2021-03-04T08:07:09.276" v="82"/>
          <ac:spMkLst>
            <pc:docMk/>
            <pc:sldMk cId="1837760195" sldId="334"/>
            <ac:spMk id="2" creationId="{A2DC317F-F1F4-4624-8FC1-3B68C1DBB3DA}"/>
          </ac:spMkLst>
        </pc:spChg>
        <pc:spChg chg="del">
          <ac:chgData name="Meyer Raphael (PAR-ES)" userId="79615dfe-ed48-4e74-a40f-4f7b034c1c27" providerId="ADAL" clId="{8ED4C5ED-7DA1-4D25-AE40-43BBDDBEAFEC}" dt="2021-03-04T08:06:36.468" v="78" actId="478"/>
          <ac:spMkLst>
            <pc:docMk/>
            <pc:sldMk cId="1837760195" sldId="334"/>
            <ac:spMk id="7" creationId="{BA3F9A72-0541-4D1F-8CD8-1C2B8074FA1B}"/>
          </ac:spMkLst>
        </pc:spChg>
        <pc:spChg chg="mod">
          <ac:chgData name="Meyer Raphael (PAR-ES)" userId="79615dfe-ed48-4e74-a40f-4f7b034c1c27" providerId="ADAL" clId="{8ED4C5ED-7DA1-4D25-AE40-43BBDDBEAFEC}" dt="2021-03-04T08:06:59.291" v="81" actId="14100"/>
          <ac:spMkLst>
            <pc:docMk/>
            <pc:sldMk cId="1837760195" sldId="334"/>
            <ac:spMk id="8" creationId="{5857C2A1-2CB8-4D4A-AEFD-E809BF73D04F}"/>
          </ac:spMkLst>
        </pc:spChg>
        <pc:spChg chg="del">
          <ac:chgData name="Meyer Raphael (PAR-ES)" userId="79615dfe-ed48-4e74-a40f-4f7b034c1c27" providerId="ADAL" clId="{8ED4C5ED-7DA1-4D25-AE40-43BBDDBEAFEC}" dt="2021-03-04T08:06:36.468" v="78" actId="478"/>
          <ac:spMkLst>
            <pc:docMk/>
            <pc:sldMk cId="1837760195" sldId="334"/>
            <ac:spMk id="9" creationId="{B6990B61-32B2-4ADC-BF01-EDF7B4080F97}"/>
          </ac:spMkLst>
        </pc:spChg>
        <pc:spChg chg="mod">
          <ac:chgData name="Meyer Raphael (PAR-ES)" userId="79615dfe-ed48-4e74-a40f-4f7b034c1c27" providerId="ADAL" clId="{8ED4C5ED-7DA1-4D25-AE40-43BBDDBEAFEC}" dt="2021-03-04T08:07:17.599" v="83"/>
          <ac:spMkLst>
            <pc:docMk/>
            <pc:sldMk cId="1837760195" sldId="334"/>
            <ac:spMk id="10" creationId="{077DFD58-E5EE-4B68-9325-D935DB04DD40}"/>
          </ac:spMkLst>
        </pc:spChg>
        <pc:spChg chg="del">
          <ac:chgData name="Meyer Raphael (PAR-ES)" userId="79615dfe-ed48-4e74-a40f-4f7b034c1c27" providerId="ADAL" clId="{8ED4C5ED-7DA1-4D25-AE40-43BBDDBEAFEC}" dt="2021-03-04T08:06:36.468" v="78" actId="478"/>
          <ac:spMkLst>
            <pc:docMk/>
            <pc:sldMk cId="1837760195" sldId="334"/>
            <ac:spMk id="17" creationId="{785E740C-F94A-4208-8DFD-63A603C16577}"/>
          </ac:spMkLst>
        </pc:spChg>
        <pc:spChg chg="add">
          <ac:chgData name="Meyer Raphael (PAR-ES)" userId="79615dfe-ed48-4e74-a40f-4f7b034c1c27" providerId="ADAL" clId="{8ED4C5ED-7DA1-4D25-AE40-43BBDDBEAFEC}" dt="2021-03-04T08:06:48.938" v="79"/>
          <ac:spMkLst>
            <pc:docMk/>
            <pc:sldMk cId="1837760195" sldId="334"/>
            <ac:spMk id="23" creationId="{F8081A8E-3C16-4BC1-8843-5B0CDB9D1B73}"/>
          </ac:spMkLst>
        </pc:spChg>
        <pc:spChg chg="del">
          <ac:chgData name="Meyer Raphael (PAR-ES)" userId="79615dfe-ed48-4e74-a40f-4f7b034c1c27" providerId="ADAL" clId="{8ED4C5ED-7DA1-4D25-AE40-43BBDDBEAFEC}" dt="2021-03-04T08:06:36.468" v="78" actId="478"/>
          <ac:spMkLst>
            <pc:docMk/>
            <pc:sldMk cId="1837760195" sldId="334"/>
            <ac:spMk id="26" creationId="{BFD498B5-D73E-4C8A-9FAF-B3547647538C}"/>
          </ac:spMkLst>
        </pc:spChg>
        <pc:spChg chg="mod">
          <ac:chgData name="Meyer Raphael (PAR-ES)" userId="79615dfe-ed48-4e74-a40f-4f7b034c1c27" providerId="ADAL" clId="{8ED4C5ED-7DA1-4D25-AE40-43BBDDBEAFEC}" dt="2021-03-04T08:07:33.244" v="84"/>
          <ac:spMkLst>
            <pc:docMk/>
            <pc:sldMk cId="1837760195" sldId="334"/>
            <ac:spMk id="27" creationId="{46A6B042-39EE-4A58-BBAA-13D52264B660}"/>
          </ac:spMkLst>
        </pc:spChg>
        <pc:spChg chg="del">
          <ac:chgData name="Meyer Raphael (PAR-ES)" userId="79615dfe-ed48-4e74-a40f-4f7b034c1c27" providerId="ADAL" clId="{8ED4C5ED-7DA1-4D25-AE40-43BBDDBEAFEC}" dt="2021-03-04T08:12:03.812" v="106" actId="478"/>
          <ac:spMkLst>
            <pc:docMk/>
            <pc:sldMk cId="1837760195" sldId="334"/>
            <ac:spMk id="28" creationId="{4492A3CD-6943-423D-BFEC-8129889E8B6F}"/>
          </ac:spMkLst>
        </pc:spChg>
        <pc:spChg chg="add">
          <ac:chgData name="Meyer Raphael (PAR-ES)" userId="79615dfe-ed48-4e74-a40f-4f7b034c1c27" providerId="ADAL" clId="{8ED4C5ED-7DA1-4D25-AE40-43BBDDBEAFEC}" dt="2021-03-04T08:06:48.938" v="79"/>
          <ac:spMkLst>
            <pc:docMk/>
            <pc:sldMk cId="1837760195" sldId="334"/>
            <ac:spMk id="33" creationId="{436FA842-59C5-482D-A389-D046FA0A1045}"/>
          </ac:spMkLst>
        </pc:spChg>
        <pc:spChg chg="add">
          <ac:chgData name="Meyer Raphael (PAR-ES)" userId="79615dfe-ed48-4e74-a40f-4f7b034c1c27" providerId="ADAL" clId="{8ED4C5ED-7DA1-4D25-AE40-43BBDDBEAFEC}" dt="2021-03-04T08:06:48.938" v="79"/>
          <ac:spMkLst>
            <pc:docMk/>
            <pc:sldMk cId="1837760195" sldId="334"/>
            <ac:spMk id="36" creationId="{F84D2091-F2C6-4CFF-95B5-76F1378F3767}"/>
          </ac:spMkLst>
        </pc:spChg>
        <pc:spChg chg="add">
          <ac:chgData name="Meyer Raphael (PAR-ES)" userId="79615dfe-ed48-4e74-a40f-4f7b034c1c27" providerId="ADAL" clId="{8ED4C5ED-7DA1-4D25-AE40-43BBDDBEAFEC}" dt="2021-03-04T08:06:48.938" v="79"/>
          <ac:spMkLst>
            <pc:docMk/>
            <pc:sldMk cId="1837760195" sldId="334"/>
            <ac:spMk id="37" creationId="{E30A101F-8A88-4198-BB82-EA8E9B372A50}"/>
          </ac:spMkLst>
        </pc:spChg>
        <pc:spChg chg="add">
          <ac:chgData name="Meyer Raphael (PAR-ES)" userId="79615dfe-ed48-4e74-a40f-4f7b034c1c27" providerId="ADAL" clId="{8ED4C5ED-7DA1-4D25-AE40-43BBDDBEAFEC}" dt="2021-03-04T08:12:14.834" v="108"/>
          <ac:spMkLst>
            <pc:docMk/>
            <pc:sldMk cId="1837760195" sldId="334"/>
            <ac:spMk id="38" creationId="{39CB4F53-3602-46FA-981C-A72F1EA9BD8C}"/>
          </ac:spMkLst>
        </pc:spChg>
      </pc:sldChg>
      <pc:sldChg chg="addSp delSp modSp add">
        <pc:chgData name="Meyer Raphael (PAR-ES)" userId="79615dfe-ed48-4e74-a40f-4f7b034c1c27" providerId="ADAL" clId="{8ED4C5ED-7DA1-4D25-AE40-43BBDDBEAFEC}" dt="2021-03-04T08:12:15.835" v="109"/>
        <pc:sldMkLst>
          <pc:docMk/>
          <pc:sldMk cId="3853260059" sldId="335"/>
        </pc:sldMkLst>
        <pc:spChg chg="mod">
          <ac:chgData name="Meyer Raphael (PAR-ES)" userId="79615dfe-ed48-4e74-a40f-4f7b034c1c27" providerId="ADAL" clId="{8ED4C5ED-7DA1-4D25-AE40-43BBDDBEAFEC}" dt="2021-03-04T08:10:54.390" v="100"/>
          <ac:spMkLst>
            <pc:docMk/>
            <pc:sldMk cId="3853260059" sldId="335"/>
            <ac:spMk id="2" creationId="{A2DC317F-F1F4-4624-8FC1-3B68C1DBB3DA}"/>
          </ac:spMkLst>
        </pc:spChg>
        <pc:spChg chg="del">
          <ac:chgData name="Meyer Raphael (PAR-ES)" userId="79615dfe-ed48-4e74-a40f-4f7b034c1c27" providerId="ADAL" clId="{8ED4C5ED-7DA1-4D25-AE40-43BBDDBEAFEC}" dt="2021-03-04T08:10:11.352" v="94" actId="478"/>
          <ac:spMkLst>
            <pc:docMk/>
            <pc:sldMk cId="3853260059" sldId="335"/>
            <ac:spMk id="7" creationId="{BA3F9A72-0541-4D1F-8CD8-1C2B8074FA1B}"/>
          </ac:spMkLst>
        </pc:spChg>
        <pc:spChg chg="mod">
          <ac:chgData name="Meyer Raphael (PAR-ES)" userId="79615dfe-ed48-4e74-a40f-4f7b034c1c27" providerId="ADAL" clId="{8ED4C5ED-7DA1-4D25-AE40-43BBDDBEAFEC}" dt="2021-03-04T08:10:33.336" v="97" actId="14100"/>
          <ac:spMkLst>
            <pc:docMk/>
            <pc:sldMk cId="3853260059" sldId="335"/>
            <ac:spMk id="8" creationId="{5857C2A1-2CB8-4D4A-AEFD-E809BF73D04F}"/>
          </ac:spMkLst>
        </pc:spChg>
        <pc:spChg chg="del">
          <ac:chgData name="Meyer Raphael (PAR-ES)" userId="79615dfe-ed48-4e74-a40f-4f7b034c1c27" providerId="ADAL" clId="{8ED4C5ED-7DA1-4D25-AE40-43BBDDBEAFEC}" dt="2021-03-04T08:10:11.352" v="94" actId="478"/>
          <ac:spMkLst>
            <pc:docMk/>
            <pc:sldMk cId="3853260059" sldId="335"/>
            <ac:spMk id="9" creationId="{B6990B61-32B2-4ADC-BF01-EDF7B4080F97}"/>
          </ac:spMkLst>
        </pc:spChg>
        <pc:spChg chg="mod">
          <ac:chgData name="Meyer Raphael (PAR-ES)" userId="79615dfe-ed48-4e74-a40f-4f7b034c1c27" providerId="ADAL" clId="{8ED4C5ED-7DA1-4D25-AE40-43BBDDBEAFEC}" dt="2021-03-04T08:11:07.099" v="103"/>
          <ac:spMkLst>
            <pc:docMk/>
            <pc:sldMk cId="3853260059" sldId="335"/>
            <ac:spMk id="10" creationId="{077DFD58-E5EE-4B68-9325-D935DB04DD40}"/>
          </ac:spMkLst>
        </pc:spChg>
        <pc:spChg chg="del">
          <ac:chgData name="Meyer Raphael (PAR-ES)" userId="79615dfe-ed48-4e74-a40f-4f7b034c1c27" providerId="ADAL" clId="{8ED4C5ED-7DA1-4D25-AE40-43BBDDBEAFEC}" dt="2021-03-04T08:10:11.352" v="94" actId="478"/>
          <ac:spMkLst>
            <pc:docMk/>
            <pc:sldMk cId="3853260059" sldId="335"/>
            <ac:spMk id="17" creationId="{785E740C-F94A-4208-8DFD-63A603C16577}"/>
          </ac:spMkLst>
        </pc:spChg>
        <pc:spChg chg="add">
          <ac:chgData name="Meyer Raphael (PAR-ES)" userId="79615dfe-ed48-4e74-a40f-4f7b034c1c27" providerId="ADAL" clId="{8ED4C5ED-7DA1-4D25-AE40-43BBDDBEAFEC}" dt="2021-03-04T08:10:22.766" v="95"/>
          <ac:spMkLst>
            <pc:docMk/>
            <pc:sldMk cId="3853260059" sldId="335"/>
            <ac:spMk id="23" creationId="{A4173DE9-6EBB-4D06-AAA6-5A45C16B73F2}"/>
          </ac:spMkLst>
        </pc:spChg>
        <pc:spChg chg="del">
          <ac:chgData name="Meyer Raphael (PAR-ES)" userId="79615dfe-ed48-4e74-a40f-4f7b034c1c27" providerId="ADAL" clId="{8ED4C5ED-7DA1-4D25-AE40-43BBDDBEAFEC}" dt="2021-03-04T08:10:11.352" v="94" actId="478"/>
          <ac:spMkLst>
            <pc:docMk/>
            <pc:sldMk cId="3853260059" sldId="335"/>
            <ac:spMk id="26" creationId="{BFD498B5-D73E-4C8A-9FAF-B3547647538C}"/>
          </ac:spMkLst>
        </pc:spChg>
        <pc:spChg chg="mod">
          <ac:chgData name="Meyer Raphael (PAR-ES)" userId="79615dfe-ed48-4e74-a40f-4f7b034c1c27" providerId="ADAL" clId="{8ED4C5ED-7DA1-4D25-AE40-43BBDDBEAFEC}" dt="2021-03-04T08:10:46.068" v="99" actId="14100"/>
          <ac:spMkLst>
            <pc:docMk/>
            <pc:sldMk cId="3853260059" sldId="335"/>
            <ac:spMk id="27" creationId="{46A6B042-39EE-4A58-BBAA-13D52264B660}"/>
          </ac:spMkLst>
        </pc:spChg>
        <pc:spChg chg="del">
          <ac:chgData name="Meyer Raphael (PAR-ES)" userId="79615dfe-ed48-4e74-a40f-4f7b034c1c27" providerId="ADAL" clId="{8ED4C5ED-7DA1-4D25-AE40-43BBDDBEAFEC}" dt="2021-03-04T08:12:08.515" v="107" actId="478"/>
          <ac:spMkLst>
            <pc:docMk/>
            <pc:sldMk cId="3853260059" sldId="335"/>
            <ac:spMk id="28" creationId="{4492A3CD-6943-423D-BFEC-8129889E8B6F}"/>
          </ac:spMkLst>
        </pc:spChg>
        <pc:spChg chg="add">
          <ac:chgData name="Meyer Raphael (PAR-ES)" userId="79615dfe-ed48-4e74-a40f-4f7b034c1c27" providerId="ADAL" clId="{8ED4C5ED-7DA1-4D25-AE40-43BBDDBEAFEC}" dt="2021-03-04T08:10:22.766" v="95"/>
          <ac:spMkLst>
            <pc:docMk/>
            <pc:sldMk cId="3853260059" sldId="335"/>
            <ac:spMk id="33" creationId="{3BE11088-D503-45DA-A54D-9D835AFB4815}"/>
          </ac:spMkLst>
        </pc:spChg>
        <pc:spChg chg="add">
          <ac:chgData name="Meyer Raphael (PAR-ES)" userId="79615dfe-ed48-4e74-a40f-4f7b034c1c27" providerId="ADAL" clId="{8ED4C5ED-7DA1-4D25-AE40-43BBDDBEAFEC}" dt="2021-03-04T08:10:22.766" v="95"/>
          <ac:spMkLst>
            <pc:docMk/>
            <pc:sldMk cId="3853260059" sldId="335"/>
            <ac:spMk id="36" creationId="{67CAA1D9-CB4A-4B7E-A980-96001E439725}"/>
          </ac:spMkLst>
        </pc:spChg>
        <pc:spChg chg="add">
          <ac:chgData name="Meyer Raphael (PAR-ES)" userId="79615dfe-ed48-4e74-a40f-4f7b034c1c27" providerId="ADAL" clId="{8ED4C5ED-7DA1-4D25-AE40-43BBDDBEAFEC}" dt="2021-03-04T08:10:22.766" v="95"/>
          <ac:spMkLst>
            <pc:docMk/>
            <pc:sldMk cId="3853260059" sldId="335"/>
            <ac:spMk id="37" creationId="{32662B2A-43CD-4B8D-95E7-5719F102752C}"/>
          </ac:spMkLst>
        </pc:spChg>
        <pc:spChg chg="add">
          <ac:chgData name="Meyer Raphael (PAR-ES)" userId="79615dfe-ed48-4e74-a40f-4f7b034c1c27" providerId="ADAL" clId="{8ED4C5ED-7DA1-4D25-AE40-43BBDDBEAFEC}" dt="2021-03-04T08:12:15.835" v="109"/>
          <ac:spMkLst>
            <pc:docMk/>
            <pc:sldMk cId="3853260059" sldId="335"/>
            <ac:spMk id="38" creationId="{C560343E-7E57-4F56-A2F7-BC158B546710}"/>
          </ac:spMkLst>
        </pc:spChg>
      </pc:sldChg>
    </pc:docChg>
  </pc:docChgLst>
  <pc:docChgLst>
    <pc:chgData name="Meyer Raphael (PAR-ES)" userId="79615dfe-ed48-4e74-a40f-4f7b034c1c27" providerId="ADAL" clId="{EE4B723A-9766-4E02-AF64-B4A3F3A783ED}"/>
    <pc:docChg chg="delSld modSld sldOrd">
      <pc:chgData name="Meyer Raphael (PAR-ES)" userId="79615dfe-ed48-4e74-a40f-4f7b034c1c27" providerId="ADAL" clId="{EE4B723A-9766-4E02-AF64-B4A3F3A783ED}" dt="2021-10-18T07:56:07.780" v="25" actId="47"/>
      <pc:docMkLst>
        <pc:docMk/>
      </pc:docMkLst>
      <pc:sldChg chg="del">
        <pc:chgData name="Meyer Raphael (PAR-ES)" userId="79615dfe-ed48-4e74-a40f-4f7b034c1c27" providerId="ADAL" clId="{EE4B723A-9766-4E02-AF64-B4A3F3A783ED}" dt="2021-10-18T07:56:07.780" v="25" actId="47"/>
        <pc:sldMkLst>
          <pc:docMk/>
          <pc:sldMk cId="1495152177" sldId="298"/>
        </pc:sldMkLst>
      </pc:sldChg>
      <pc:sldChg chg="del">
        <pc:chgData name="Meyer Raphael (PAR-ES)" userId="79615dfe-ed48-4e74-a40f-4f7b034c1c27" providerId="ADAL" clId="{EE4B723A-9766-4E02-AF64-B4A3F3A783ED}" dt="2021-10-18T07:56:07.780" v="25" actId="47"/>
        <pc:sldMkLst>
          <pc:docMk/>
          <pc:sldMk cId="3590012689" sldId="365"/>
        </pc:sldMkLst>
      </pc:sldChg>
      <pc:sldChg chg="del">
        <pc:chgData name="Meyer Raphael (PAR-ES)" userId="79615dfe-ed48-4e74-a40f-4f7b034c1c27" providerId="ADAL" clId="{EE4B723A-9766-4E02-AF64-B4A3F3A783ED}" dt="2021-10-18T07:56:07.780" v="25" actId="47"/>
        <pc:sldMkLst>
          <pc:docMk/>
          <pc:sldMk cId="689864941" sldId="366"/>
        </pc:sldMkLst>
      </pc:sldChg>
      <pc:sldChg chg="modSp mod ord">
        <pc:chgData name="Meyer Raphael (PAR-ES)" userId="79615dfe-ed48-4e74-a40f-4f7b034c1c27" providerId="ADAL" clId="{EE4B723A-9766-4E02-AF64-B4A3F3A783ED}" dt="2021-10-18T07:56:02.863" v="24"/>
        <pc:sldMkLst>
          <pc:docMk/>
          <pc:sldMk cId="2343299233" sldId="374"/>
        </pc:sldMkLst>
        <pc:graphicFrameChg chg="modGraphic">
          <ac:chgData name="Meyer Raphael (PAR-ES)" userId="79615dfe-ed48-4e74-a40f-4f7b034c1c27" providerId="ADAL" clId="{EE4B723A-9766-4E02-AF64-B4A3F3A783ED}" dt="2021-10-18T07:50:21.584" v="7" actId="20577"/>
          <ac:graphicFrameMkLst>
            <pc:docMk/>
            <pc:sldMk cId="2343299233" sldId="374"/>
            <ac:graphicFrameMk id="9" creationId="{E1369C63-C4A7-403B-A03F-B004599F910A}"/>
          </ac:graphicFrameMkLst>
        </pc:graphicFrameChg>
      </pc:sldChg>
      <pc:sldChg chg="modSp mod ord">
        <pc:chgData name="Meyer Raphael (PAR-ES)" userId="79615dfe-ed48-4e74-a40f-4f7b034c1c27" providerId="ADAL" clId="{EE4B723A-9766-4E02-AF64-B4A3F3A783ED}" dt="2021-10-18T07:56:02.863" v="24"/>
        <pc:sldMkLst>
          <pc:docMk/>
          <pc:sldMk cId="3759573184" sldId="375"/>
        </pc:sldMkLst>
        <pc:graphicFrameChg chg="mod">
          <ac:chgData name="Meyer Raphael (PAR-ES)" userId="79615dfe-ed48-4e74-a40f-4f7b034c1c27" providerId="ADAL" clId="{EE4B723A-9766-4E02-AF64-B4A3F3A783ED}" dt="2021-10-18T07:53:22.666" v="21"/>
          <ac:graphicFrameMkLst>
            <pc:docMk/>
            <pc:sldMk cId="3759573184" sldId="375"/>
            <ac:graphicFrameMk id="9" creationId="{E1369C63-C4A7-403B-A03F-B004599F910A}"/>
          </ac:graphicFrameMkLst>
        </pc:graphicFrameChg>
      </pc:sldChg>
      <pc:sldChg chg="modSp mod ord">
        <pc:chgData name="Meyer Raphael (PAR-ES)" userId="79615dfe-ed48-4e74-a40f-4f7b034c1c27" providerId="ADAL" clId="{EE4B723A-9766-4E02-AF64-B4A3F3A783ED}" dt="2021-10-18T07:56:02.863" v="24"/>
        <pc:sldMkLst>
          <pc:docMk/>
          <pc:sldMk cId="3027727826" sldId="376"/>
        </pc:sldMkLst>
        <pc:graphicFrameChg chg="mod">
          <ac:chgData name="Meyer Raphael (PAR-ES)" userId="79615dfe-ed48-4e74-a40f-4f7b034c1c27" providerId="ADAL" clId="{EE4B723A-9766-4E02-AF64-B4A3F3A783ED}" dt="2021-10-18T07:53:27.274" v="22"/>
          <ac:graphicFrameMkLst>
            <pc:docMk/>
            <pc:sldMk cId="3027727826" sldId="376"/>
            <ac:graphicFrameMk id="9" creationId="{E1369C63-C4A7-403B-A03F-B004599F910A}"/>
          </ac:graphicFrameMkLst>
        </pc:graphicFrameChg>
      </pc:sldChg>
    </pc:docChg>
  </pc:docChgLst>
  <pc:docChgLst>
    <pc:chgData name="Meyer Raphael (PAR-ES)" userId="79615dfe-ed48-4e74-a40f-4f7b034c1c27" providerId="ADAL" clId="{C3BA7792-AF9F-4D74-B393-5D6FA2F18B07}"/>
    <pc:docChg chg="undo custSel addSld delSld modSld sldOrd">
      <pc:chgData name="Meyer Raphael (PAR-ES)" userId="79615dfe-ed48-4e74-a40f-4f7b034c1c27" providerId="ADAL" clId="{C3BA7792-AF9F-4D74-B393-5D6FA2F18B07}" dt="2021-04-12T12:51:38.587" v="446" actId="478"/>
      <pc:docMkLst>
        <pc:docMk/>
      </pc:docMkLst>
      <pc:sldChg chg="addSp delSp modSp add mod ord">
        <pc:chgData name="Meyer Raphael (PAR-ES)" userId="79615dfe-ed48-4e74-a40f-4f7b034c1c27" providerId="ADAL" clId="{C3BA7792-AF9F-4D74-B393-5D6FA2F18B07}" dt="2021-04-12T12:51:38.587" v="446" actId="478"/>
        <pc:sldMkLst>
          <pc:docMk/>
          <pc:sldMk cId="586406932" sldId="346"/>
        </pc:sldMkLst>
        <pc:spChg chg="mod">
          <ac:chgData name="Meyer Raphael (PAR-ES)" userId="79615dfe-ed48-4e74-a40f-4f7b034c1c27" providerId="ADAL" clId="{C3BA7792-AF9F-4D74-B393-5D6FA2F18B07}" dt="2021-04-12T12:48:45.247" v="435"/>
          <ac:spMkLst>
            <pc:docMk/>
            <pc:sldMk cId="586406932" sldId="346"/>
            <ac:spMk id="2" creationId="{A2DC317F-F1F4-4624-8FC1-3B68C1DBB3DA}"/>
          </ac:spMkLst>
        </pc:spChg>
        <pc:spChg chg="add del mod">
          <ac:chgData name="Meyer Raphael (PAR-ES)" userId="79615dfe-ed48-4e74-a40f-4f7b034c1c27" providerId="ADAL" clId="{C3BA7792-AF9F-4D74-B393-5D6FA2F18B07}" dt="2021-04-12T12:48:38.437" v="434"/>
          <ac:spMkLst>
            <pc:docMk/>
            <pc:sldMk cId="586406932" sldId="346"/>
            <ac:spMk id="3" creationId="{B8D2A0CC-FB16-4EEB-B091-2BA590F22240}"/>
          </ac:spMkLst>
        </pc:spChg>
        <pc:spChg chg="mod">
          <ac:chgData name="Meyer Raphael (PAR-ES)" userId="79615dfe-ed48-4e74-a40f-4f7b034c1c27" providerId="ADAL" clId="{C3BA7792-AF9F-4D74-B393-5D6FA2F18B07}" dt="2021-04-12T12:48:45.247" v="435"/>
          <ac:spMkLst>
            <pc:docMk/>
            <pc:sldMk cId="586406932" sldId="346"/>
            <ac:spMk id="4" creationId="{FE424811-9A99-46D3-9443-AAB22DAEAB5A}"/>
          </ac:spMkLst>
        </pc:spChg>
        <pc:spChg chg="add del mod">
          <ac:chgData name="Meyer Raphael (PAR-ES)" userId="79615dfe-ed48-4e74-a40f-4f7b034c1c27" providerId="ADAL" clId="{C3BA7792-AF9F-4D74-B393-5D6FA2F18B07}" dt="2021-04-12T12:48:45.247" v="435"/>
          <ac:spMkLst>
            <pc:docMk/>
            <pc:sldMk cId="586406932" sldId="346"/>
            <ac:spMk id="6" creationId="{4710D6F0-0B14-4837-8BFF-20373F0447AD}"/>
          </ac:spMkLst>
        </pc:spChg>
        <pc:spChg chg="mod">
          <ac:chgData name="Meyer Raphael (PAR-ES)" userId="79615dfe-ed48-4e74-a40f-4f7b034c1c27" providerId="ADAL" clId="{C3BA7792-AF9F-4D74-B393-5D6FA2F18B07}" dt="2021-04-12T11:49:35.630" v="3" actId="20577"/>
          <ac:spMkLst>
            <pc:docMk/>
            <pc:sldMk cId="586406932" sldId="346"/>
            <ac:spMk id="8" creationId="{5857C2A1-2CB8-4D4A-AEFD-E809BF73D04F}"/>
          </ac:spMkLst>
        </pc:spChg>
        <pc:spChg chg="add del mod">
          <ac:chgData name="Meyer Raphael (PAR-ES)" userId="79615dfe-ed48-4e74-a40f-4f7b034c1c27" providerId="ADAL" clId="{C3BA7792-AF9F-4D74-B393-5D6FA2F18B07}" dt="2021-04-12T12:48:45.247" v="435"/>
          <ac:spMkLst>
            <pc:docMk/>
            <pc:sldMk cId="586406932" sldId="346"/>
            <ac:spMk id="11" creationId="{F963F6DF-AF6F-409A-A583-03F4AC32EB90}"/>
          </ac:spMkLst>
        </pc:spChg>
        <pc:spChg chg="add del mod">
          <ac:chgData name="Meyer Raphael (PAR-ES)" userId="79615dfe-ed48-4e74-a40f-4f7b034c1c27" providerId="ADAL" clId="{C3BA7792-AF9F-4D74-B393-5D6FA2F18B07}" dt="2021-04-12T12:49:20.435" v="438" actId="478"/>
          <ac:spMkLst>
            <pc:docMk/>
            <pc:sldMk cId="586406932" sldId="346"/>
            <ac:spMk id="12" creationId="{3411D213-4220-42CD-AAEB-688E4E8A7BC9}"/>
          </ac:spMkLst>
        </pc:spChg>
        <pc:spChg chg="add del mod">
          <ac:chgData name="Meyer Raphael (PAR-ES)" userId="79615dfe-ed48-4e74-a40f-4f7b034c1c27" providerId="ADAL" clId="{C3BA7792-AF9F-4D74-B393-5D6FA2F18B07}" dt="2021-04-12T12:50:34.577" v="441" actId="478"/>
          <ac:spMkLst>
            <pc:docMk/>
            <pc:sldMk cId="586406932" sldId="346"/>
            <ac:spMk id="13" creationId="{185EF1E4-0ACA-4484-95B1-AA9AE7A114C9}"/>
          </ac:spMkLst>
        </pc:spChg>
        <pc:spChg chg="mod">
          <ac:chgData name="Meyer Raphael (PAR-ES)" userId="79615dfe-ed48-4e74-a40f-4f7b034c1c27" providerId="ADAL" clId="{C3BA7792-AF9F-4D74-B393-5D6FA2F18B07}" dt="2021-04-12T11:50:04.966" v="17" actId="20577"/>
          <ac:spMkLst>
            <pc:docMk/>
            <pc:sldMk cId="586406932" sldId="346"/>
            <ac:spMk id="27" creationId="{46A6B042-39EE-4A58-BBAA-13D52264B660}"/>
          </ac:spMkLst>
        </pc:spChg>
        <pc:spChg chg="mod">
          <ac:chgData name="Meyer Raphael (PAR-ES)" userId="79615dfe-ed48-4e74-a40f-4f7b034c1c27" providerId="ADAL" clId="{C3BA7792-AF9F-4D74-B393-5D6FA2F18B07}" dt="2021-04-12T11:50:15.012" v="29" actId="20577"/>
          <ac:spMkLst>
            <pc:docMk/>
            <pc:sldMk cId="586406932" sldId="346"/>
            <ac:spMk id="31" creationId="{7491A47D-CAD4-478D-8F3A-296FFCB799F9}"/>
          </ac:spMkLst>
        </pc:spChg>
        <pc:graphicFrameChg chg="del">
          <ac:chgData name="Meyer Raphael (PAR-ES)" userId="79615dfe-ed48-4e74-a40f-4f7b034c1c27" providerId="ADAL" clId="{C3BA7792-AF9F-4D74-B393-5D6FA2F18B07}" dt="2021-04-12T12:10:59.272" v="43" actId="478"/>
          <ac:graphicFrameMkLst>
            <pc:docMk/>
            <pc:sldMk cId="586406932" sldId="346"/>
            <ac:graphicFrameMk id="5" creationId="{4CF6AB8B-CAB9-4C7E-8E59-E00357A4D7F0}"/>
          </ac:graphicFrameMkLst>
        </pc:graphicFrameChg>
        <pc:graphicFrameChg chg="add del mod">
          <ac:chgData name="Meyer Raphael (PAR-ES)" userId="79615dfe-ed48-4e74-a40f-4f7b034c1c27" providerId="ADAL" clId="{C3BA7792-AF9F-4D74-B393-5D6FA2F18B07}" dt="2021-04-12T12:50:55.121" v="443" actId="478"/>
          <ac:graphicFrameMkLst>
            <pc:docMk/>
            <pc:sldMk cId="586406932" sldId="346"/>
            <ac:graphicFrameMk id="14" creationId="{5E926C03-53A1-4951-915D-3D1CFA03F9DE}"/>
          </ac:graphicFrameMkLst>
        </pc:graphicFrameChg>
        <pc:graphicFrameChg chg="add del mod">
          <ac:chgData name="Meyer Raphael (PAR-ES)" userId="79615dfe-ed48-4e74-a40f-4f7b034c1c27" providerId="ADAL" clId="{C3BA7792-AF9F-4D74-B393-5D6FA2F18B07}" dt="2021-04-12T12:51:38.587" v="446" actId="478"/>
          <ac:graphicFrameMkLst>
            <pc:docMk/>
            <pc:sldMk cId="586406932" sldId="346"/>
            <ac:graphicFrameMk id="15" creationId="{FB8E307E-E548-4ECB-B1D3-B909DC818477}"/>
          </ac:graphicFrameMkLst>
        </pc:graphicFrameChg>
        <pc:graphicFrameChg chg="add del mod">
          <ac:chgData name="Meyer Raphael (PAR-ES)" userId="79615dfe-ed48-4e74-a40f-4f7b034c1c27" providerId="ADAL" clId="{C3BA7792-AF9F-4D74-B393-5D6FA2F18B07}" dt="2021-04-12T12:12:44.533" v="91" actId="478"/>
          <ac:graphicFrameMkLst>
            <pc:docMk/>
            <pc:sldMk cId="586406932" sldId="346"/>
            <ac:graphicFrameMk id="21" creationId="{B6049B58-D743-4BF8-ADBD-2CBD12961E56}"/>
          </ac:graphicFrameMkLst>
        </pc:graphicFrameChg>
        <pc:graphicFrameChg chg="add mod">
          <ac:chgData name="Meyer Raphael (PAR-ES)" userId="79615dfe-ed48-4e74-a40f-4f7b034c1c27" providerId="ADAL" clId="{C3BA7792-AF9F-4D74-B393-5D6FA2F18B07}" dt="2021-04-12T12:16:20.486" v="202" actId="552"/>
          <ac:graphicFrameMkLst>
            <pc:docMk/>
            <pc:sldMk cId="586406932" sldId="346"/>
            <ac:graphicFrameMk id="22" creationId="{4CF6AB8B-CAB9-4C7E-8E59-E00357A4D7F0}"/>
          </ac:graphicFrameMkLst>
        </pc:graphicFrameChg>
        <pc:graphicFrameChg chg="add mod">
          <ac:chgData name="Meyer Raphael (PAR-ES)" userId="79615dfe-ed48-4e74-a40f-4f7b034c1c27" providerId="ADAL" clId="{C3BA7792-AF9F-4D74-B393-5D6FA2F18B07}" dt="2021-04-12T12:16:20.486" v="202" actId="552"/>
          <ac:graphicFrameMkLst>
            <pc:docMk/>
            <pc:sldMk cId="586406932" sldId="346"/>
            <ac:graphicFrameMk id="23" creationId="{B6049B58-D743-4BF8-ADBD-2CBD12961E56}"/>
          </ac:graphicFrameMkLst>
        </pc:graphicFrameChg>
        <pc:graphicFrameChg chg="del mod">
          <ac:chgData name="Meyer Raphael (PAR-ES)" userId="79615dfe-ed48-4e74-a40f-4f7b034c1c27" providerId="ADAL" clId="{C3BA7792-AF9F-4D74-B393-5D6FA2F18B07}" dt="2021-04-12T12:15:56.614" v="124" actId="478"/>
          <ac:graphicFrameMkLst>
            <pc:docMk/>
            <pc:sldMk cId="586406932" sldId="346"/>
            <ac:graphicFrameMk id="24" creationId="{B6049B58-D743-4BF8-ADBD-2CBD12961E56}"/>
          </ac:graphicFrameMkLst>
        </pc:graphicFrameChg>
      </pc:sldChg>
      <pc:sldChg chg="add del">
        <pc:chgData name="Meyer Raphael (PAR-ES)" userId="79615dfe-ed48-4e74-a40f-4f7b034c1c27" providerId="ADAL" clId="{C3BA7792-AF9F-4D74-B393-5D6FA2F18B07}" dt="2021-04-12T12:15:12.955" v="122" actId="47"/>
        <pc:sldMkLst>
          <pc:docMk/>
          <pc:sldMk cId="570795323" sldId="347"/>
        </pc:sldMkLst>
      </pc:sldChg>
      <pc:sldChg chg="delSp add del mod">
        <pc:chgData name="Meyer Raphael (PAR-ES)" userId="79615dfe-ed48-4e74-a40f-4f7b034c1c27" providerId="ADAL" clId="{C3BA7792-AF9F-4D74-B393-5D6FA2F18B07}" dt="2021-04-12T11:58:25.133" v="32" actId="47"/>
        <pc:sldMkLst>
          <pc:docMk/>
          <pc:sldMk cId="793490201" sldId="347"/>
        </pc:sldMkLst>
        <pc:graphicFrameChg chg="del">
          <ac:chgData name="Meyer Raphael (PAR-ES)" userId="79615dfe-ed48-4e74-a40f-4f7b034c1c27" providerId="ADAL" clId="{C3BA7792-AF9F-4D74-B393-5D6FA2F18B07}" dt="2021-04-12T11:50:45.289" v="31" actId="478"/>
          <ac:graphicFrameMkLst>
            <pc:docMk/>
            <pc:sldMk cId="793490201" sldId="347"/>
            <ac:graphicFrameMk id="5" creationId="{4CF6AB8B-CAB9-4C7E-8E59-E00357A4D7F0}"/>
          </ac:graphicFrameMkLst>
        </pc:graphicFrameChg>
      </pc:sldChg>
      <pc:sldChg chg="addSp delSp modSp add del mod ord">
        <pc:chgData name="Meyer Raphael (PAR-ES)" userId="79615dfe-ed48-4e74-a40f-4f7b034c1c27" providerId="ADAL" clId="{C3BA7792-AF9F-4D74-B393-5D6FA2F18B07}" dt="2021-04-12T12:22:31.296" v="222" actId="47"/>
        <pc:sldMkLst>
          <pc:docMk/>
          <pc:sldMk cId="2080478051" sldId="347"/>
        </pc:sldMkLst>
        <pc:spChg chg="mod">
          <ac:chgData name="Meyer Raphael (PAR-ES)" userId="79615dfe-ed48-4e74-a40f-4f7b034c1c27" providerId="ADAL" clId="{C3BA7792-AF9F-4D74-B393-5D6FA2F18B07}" dt="2021-04-12T12:20:55.958" v="215"/>
          <ac:spMkLst>
            <pc:docMk/>
            <pc:sldMk cId="2080478051" sldId="347"/>
            <ac:spMk id="2" creationId="{A2DC317F-F1F4-4624-8FC1-3B68C1DBB3DA}"/>
          </ac:spMkLst>
        </pc:spChg>
        <pc:spChg chg="del">
          <ac:chgData name="Meyer Raphael (PAR-ES)" userId="79615dfe-ed48-4e74-a40f-4f7b034c1c27" providerId="ADAL" clId="{C3BA7792-AF9F-4D74-B393-5D6FA2F18B07}" dt="2021-04-12T12:20:29.640" v="213" actId="478"/>
          <ac:spMkLst>
            <pc:docMk/>
            <pc:sldMk cId="2080478051" sldId="347"/>
            <ac:spMk id="7" creationId="{BA3F9A72-0541-4D1F-8CD8-1C2B8074FA1B}"/>
          </ac:spMkLst>
        </pc:spChg>
        <pc:spChg chg="mod">
          <ac:chgData name="Meyer Raphael (PAR-ES)" userId="79615dfe-ed48-4e74-a40f-4f7b034c1c27" providerId="ADAL" clId="{C3BA7792-AF9F-4D74-B393-5D6FA2F18B07}" dt="2021-04-12T12:21:17.372" v="218" actId="14100"/>
          <ac:spMkLst>
            <pc:docMk/>
            <pc:sldMk cId="2080478051" sldId="347"/>
            <ac:spMk id="8" creationId="{5857C2A1-2CB8-4D4A-AEFD-E809BF73D04F}"/>
          </ac:spMkLst>
        </pc:spChg>
        <pc:spChg chg="del">
          <ac:chgData name="Meyer Raphael (PAR-ES)" userId="79615dfe-ed48-4e74-a40f-4f7b034c1c27" providerId="ADAL" clId="{C3BA7792-AF9F-4D74-B393-5D6FA2F18B07}" dt="2021-04-12T12:20:29.640" v="213" actId="478"/>
          <ac:spMkLst>
            <pc:docMk/>
            <pc:sldMk cId="2080478051" sldId="347"/>
            <ac:spMk id="9" creationId="{B6990B61-32B2-4ADC-BF01-EDF7B4080F97}"/>
          </ac:spMkLst>
        </pc:spChg>
        <pc:spChg chg="mod">
          <ac:chgData name="Meyer Raphael (PAR-ES)" userId="79615dfe-ed48-4e74-a40f-4f7b034c1c27" providerId="ADAL" clId="{C3BA7792-AF9F-4D74-B393-5D6FA2F18B07}" dt="2021-04-12T12:21:03.789" v="216"/>
          <ac:spMkLst>
            <pc:docMk/>
            <pc:sldMk cId="2080478051" sldId="347"/>
            <ac:spMk id="10" creationId="{077DFD58-E5EE-4B68-9325-D935DB04DD40}"/>
          </ac:spMkLst>
        </pc:spChg>
        <pc:spChg chg="del">
          <ac:chgData name="Meyer Raphael (PAR-ES)" userId="79615dfe-ed48-4e74-a40f-4f7b034c1c27" providerId="ADAL" clId="{C3BA7792-AF9F-4D74-B393-5D6FA2F18B07}" dt="2021-04-12T12:20:29.640" v="213" actId="478"/>
          <ac:spMkLst>
            <pc:docMk/>
            <pc:sldMk cId="2080478051" sldId="347"/>
            <ac:spMk id="17" creationId="{785E740C-F94A-4208-8DFD-63A603C16577}"/>
          </ac:spMkLst>
        </pc:spChg>
        <pc:spChg chg="add mod">
          <ac:chgData name="Meyer Raphael (PAR-ES)" userId="79615dfe-ed48-4e74-a40f-4f7b034c1c27" providerId="ADAL" clId="{C3BA7792-AF9F-4D74-B393-5D6FA2F18B07}" dt="2021-04-12T12:20:45.302" v="214"/>
          <ac:spMkLst>
            <pc:docMk/>
            <pc:sldMk cId="2080478051" sldId="347"/>
            <ac:spMk id="21" creationId="{CA9B4D89-1FDB-4C7F-B8C7-E63F83FD8165}"/>
          </ac:spMkLst>
        </pc:spChg>
        <pc:spChg chg="add mod">
          <ac:chgData name="Meyer Raphael (PAR-ES)" userId="79615dfe-ed48-4e74-a40f-4f7b034c1c27" providerId="ADAL" clId="{C3BA7792-AF9F-4D74-B393-5D6FA2F18B07}" dt="2021-04-12T12:20:45.302" v="214"/>
          <ac:spMkLst>
            <pc:docMk/>
            <pc:sldMk cId="2080478051" sldId="347"/>
            <ac:spMk id="24" creationId="{B18F89CA-BF06-4B63-8247-682AF06EDE3C}"/>
          </ac:spMkLst>
        </pc:spChg>
        <pc:spChg chg="add mod">
          <ac:chgData name="Meyer Raphael (PAR-ES)" userId="79615dfe-ed48-4e74-a40f-4f7b034c1c27" providerId="ADAL" clId="{C3BA7792-AF9F-4D74-B393-5D6FA2F18B07}" dt="2021-04-12T12:20:45.302" v="214"/>
          <ac:spMkLst>
            <pc:docMk/>
            <pc:sldMk cId="2080478051" sldId="347"/>
            <ac:spMk id="25" creationId="{EBF56033-488B-4FE1-8624-BCF7B2473895}"/>
          </ac:spMkLst>
        </pc:spChg>
        <pc:spChg chg="del">
          <ac:chgData name="Meyer Raphael (PAR-ES)" userId="79615dfe-ed48-4e74-a40f-4f7b034c1c27" providerId="ADAL" clId="{C3BA7792-AF9F-4D74-B393-5D6FA2F18B07}" dt="2021-04-12T12:20:29.640" v="213" actId="478"/>
          <ac:spMkLst>
            <pc:docMk/>
            <pc:sldMk cId="2080478051" sldId="347"/>
            <ac:spMk id="26" creationId="{BFD498B5-D73E-4C8A-9FAF-B3547647538C}"/>
          </ac:spMkLst>
        </pc:spChg>
        <pc:spChg chg="mod">
          <ac:chgData name="Meyer Raphael (PAR-ES)" userId="79615dfe-ed48-4e74-a40f-4f7b034c1c27" providerId="ADAL" clId="{C3BA7792-AF9F-4D74-B393-5D6FA2F18B07}" dt="2021-04-12T12:21:34.857" v="219"/>
          <ac:spMkLst>
            <pc:docMk/>
            <pc:sldMk cId="2080478051" sldId="347"/>
            <ac:spMk id="27" creationId="{46A6B042-39EE-4A58-BBAA-13D52264B660}"/>
          </ac:spMkLst>
        </pc:spChg>
        <pc:spChg chg="add mod">
          <ac:chgData name="Meyer Raphael (PAR-ES)" userId="79615dfe-ed48-4e74-a40f-4f7b034c1c27" providerId="ADAL" clId="{C3BA7792-AF9F-4D74-B393-5D6FA2F18B07}" dt="2021-04-12T12:20:45.302" v="214"/>
          <ac:spMkLst>
            <pc:docMk/>
            <pc:sldMk cId="2080478051" sldId="347"/>
            <ac:spMk id="33" creationId="{92C57804-2D5A-42D3-82B9-CD97A4CCCA92}"/>
          </ac:spMkLst>
        </pc:spChg>
      </pc:sldChg>
      <pc:sldChg chg="add del">
        <pc:chgData name="Meyer Raphael (PAR-ES)" userId="79615dfe-ed48-4e74-a40f-4f7b034c1c27" providerId="ADAL" clId="{C3BA7792-AF9F-4D74-B393-5D6FA2F18B07}" dt="2021-04-12T11:49:30.193" v="1" actId="47"/>
        <pc:sldMkLst>
          <pc:docMk/>
          <pc:sldMk cId="2205717958" sldId="347"/>
        </pc:sldMkLst>
      </pc:sldChg>
      <pc:sldChg chg="addSp delSp modSp add mod ord">
        <pc:chgData name="Meyer Raphael (PAR-ES)" userId="79615dfe-ed48-4e74-a40f-4f7b034c1c27" providerId="ADAL" clId="{C3BA7792-AF9F-4D74-B393-5D6FA2F18B07}" dt="2021-04-12T12:41:14.227" v="428" actId="27918"/>
        <pc:sldMkLst>
          <pc:docMk/>
          <pc:sldMk cId="3321596445" sldId="347"/>
        </pc:sldMkLst>
        <pc:graphicFrameChg chg="del">
          <ac:chgData name="Meyer Raphael (PAR-ES)" userId="79615dfe-ed48-4e74-a40f-4f7b034c1c27" providerId="ADAL" clId="{C3BA7792-AF9F-4D74-B393-5D6FA2F18B07}" dt="2021-04-12T12:22:48.102" v="225" actId="478"/>
          <ac:graphicFrameMkLst>
            <pc:docMk/>
            <pc:sldMk cId="3321596445" sldId="347"/>
            <ac:graphicFrameMk id="5" creationId="{4CF6AB8B-CAB9-4C7E-8E59-E00357A4D7F0}"/>
          </ac:graphicFrameMkLst>
        </pc:graphicFrameChg>
        <pc:graphicFrameChg chg="del">
          <ac:chgData name="Meyer Raphael (PAR-ES)" userId="79615dfe-ed48-4e74-a40f-4f7b034c1c27" providerId="ADAL" clId="{C3BA7792-AF9F-4D74-B393-5D6FA2F18B07}" dt="2021-04-12T12:22:49.921" v="226" actId="478"/>
          <ac:graphicFrameMkLst>
            <pc:docMk/>
            <pc:sldMk cId="3321596445" sldId="347"/>
            <ac:graphicFrameMk id="24" creationId="{B6049B58-D743-4BF8-ADBD-2CBD12961E56}"/>
          </ac:graphicFrameMkLst>
        </pc:graphicFrameChg>
        <pc:graphicFrameChg chg="add del mod">
          <ac:chgData name="Meyer Raphael (PAR-ES)" userId="79615dfe-ed48-4e74-a40f-4f7b034c1c27" providerId="ADAL" clId="{C3BA7792-AF9F-4D74-B393-5D6FA2F18B07}" dt="2021-04-12T12:23:43.941" v="235" actId="478"/>
          <ac:graphicFrameMkLst>
            <pc:docMk/>
            <pc:sldMk cId="3321596445" sldId="347"/>
            <ac:graphicFrameMk id="26" creationId="{0ABC9AA6-5448-4526-95A4-2749C3978D92}"/>
          </ac:graphicFrameMkLst>
        </pc:graphicFrameChg>
        <pc:graphicFrameChg chg="add del mod">
          <ac:chgData name="Meyer Raphael (PAR-ES)" userId="79615dfe-ed48-4e74-a40f-4f7b034c1c27" providerId="ADAL" clId="{C3BA7792-AF9F-4D74-B393-5D6FA2F18B07}" dt="2021-04-12T12:25:39.389" v="257" actId="478"/>
          <ac:graphicFrameMkLst>
            <pc:docMk/>
            <pc:sldMk cId="3321596445" sldId="347"/>
            <ac:graphicFrameMk id="33" creationId="{035A9469-D45F-46D7-A1A1-0BB7FBB1B388}"/>
          </ac:graphicFrameMkLst>
        </pc:graphicFrameChg>
        <pc:graphicFrameChg chg="add mod">
          <ac:chgData name="Meyer Raphael (PAR-ES)" userId="79615dfe-ed48-4e74-a40f-4f7b034c1c27" providerId="ADAL" clId="{C3BA7792-AF9F-4D74-B393-5D6FA2F18B07}" dt="2021-04-12T12:26:01.252" v="315" actId="552"/>
          <ac:graphicFrameMkLst>
            <pc:docMk/>
            <pc:sldMk cId="3321596445" sldId="347"/>
            <ac:graphicFrameMk id="36" creationId="{4CF6AB8B-CAB9-4C7E-8E59-E00357A4D7F0}"/>
          </ac:graphicFrameMkLst>
        </pc:graphicFrameChg>
        <pc:graphicFrameChg chg="add mod">
          <ac:chgData name="Meyer Raphael (PAR-ES)" userId="79615dfe-ed48-4e74-a40f-4f7b034c1c27" providerId="ADAL" clId="{C3BA7792-AF9F-4D74-B393-5D6FA2F18B07}" dt="2021-04-12T12:26:01.252" v="315" actId="552"/>
          <ac:graphicFrameMkLst>
            <pc:docMk/>
            <pc:sldMk cId="3321596445" sldId="347"/>
            <ac:graphicFrameMk id="37" creationId="{B6049B58-D743-4BF8-ADBD-2CBD12961E56}"/>
          </ac:graphicFrameMkLst>
        </pc:graphicFrameChg>
      </pc:sldChg>
      <pc:sldChg chg="add del">
        <pc:chgData name="Meyer Raphael (PAR-ES)" userId="79615dfe-ed48-4e74-a40f-4f7b034c1c27" providerId="ADAL" clId="{C3BA7792-AF9F-4D74-B393-5D6FA2F18B07}" dt="2021-04-12T12:22:35.942" v="223" actId="47"/>
        <pc:sldMkLst>
          <pc:docMk/>
          <pc:sldMk cId="840680803" sldId="348"/>
        </pc:sldMkLst>
      </pc:sldChg>
      <pc:sldChg chg="add del">
        <pc:chgData name="Meyer Raphael (PAR-ES)" userId="79615dfe-ed48-4e74-a40f-4f7b034c1c27" providerId="ADAL" clId="{C3BA7792-AF9F-4D74-B393-5D6FA2F18B07}" dt="2021-04-12T12:15:14.238" v="123" actId="47"/>
        <pc:sldMkLst>
          <pc:docMk/>
          <pc:sldMk cId="1904841794" sldId="348"/>
        </pc:sldMkLst>
      </pc:sldChg>
      <pc:sldChg chg="add del">
        <pc:chgData name="Meyer Raphael (PAR-ES)" userId="79615dfe-ed48-4e74-a40f-4f7b034c1c27" providerId="ADAL" clId="{C3BA7792-AF9F-4D74-B393-5D6FA2F18B07}" dt="2021-04-12T11:49:30.193" v="1" actId="47"/>
        <pc:sldMkLst>
          <pc:docMk/>
          <pc:sldMk cId="2765077693" sldId="348"/>
        </pc:sldMkLst>
      </pc:sldChg>
      <pc:sldChg chg="addSp delSp modSp add mod ord">
        <pc:chgData name="Meyer Raphael (PAR-ES)" userId="79615dfe-ed48-4e74-a40f-4f7b034c1c27" providerId="ADAL" clId="{C3BA7792-AF9F-4D74-B393-5D6FA2F18B07}" dt="2021-04-12T12:41:14.244" v="429" actId="27918"/>
        <pc:sldMkLst>
          <pc:docMk/>
          <pc:sldMk cId="3052738061" sldId="348"/>
        </pc:sldMkLst>
        <pc:graphicFrameChg chg="del">
          <ac:chgData name="Meyer Raphael (PAR-ES)" userId="79615dfe-ed48-4e74-a40f-4f7b034c1c27" providerId="ADAL" clId="{C3BA7792-AF9F-4D74-B393-5D6FA2F18B07}" dt="2021-04-12T12:27:33.034" v="325" actId="478"/>
          <ac:graphicFrameMkLst>
            <pc:docMk/>
            <pc:sldMk cId="3052738061" sldId="348"/>
            <ac:graphicFrameMk id="5" creationId="{4CF6AB8B-CAB9-4C7E-8E59-E00357A4D7F0}"/>
          </ac:graphicFrameMkLst>
        </pc:graphicFrameChg>
        <pc:graphicFrameChg chg="add del mod">
          <ac:chgData name="Meyer Raphael (PAR-ES)" userId="79615dfe-ed48-4e74-a40f-4f7b034c1c27" providerId="ADAL" clId="{C3BA7792-AF9F-4D74-B393-5D6FA2F18B07}" dt="2021-04-12T12:28:14.400" v="359" actId="478"/>
          <ac:graphicFrameMkLst>
            <pc:docMk/>
            <pc:sldMk cId="3052738061" sldId="348"/>
            <ac:graphicFrameMk id="24" creationId="{B6049B58-D743-4BF8-ADBD-2CBD12961E56}"/>
          </ac:graphicFrameMkLst>
        </pc:graphicFrameChg>
        <pc:graphicFrameChg chg="add mod">
          <ac:chgData name="Meyer Raphael (PAR-ES)" userId="79615dfe-ed48-4e74-a40f-4f7b034c1c27" providerId="ADAL" clId="{C3BA7792-AF9F-4D74-B393-5D6FA2F18B07}" dt="2021-04-12T12:28:39.219" v="426" actId="552"/>
          <ac:graphicFrameMkLst>
            <pc:docMk/>
            <pc:sldMk cId="3052738061" sldId="348"/>
            <ac:graphicFrameMk id="25" creationId="{4CF6AB8B-CAB9-4C7E-8E59-E00357A4D7F0}"/>
          </ac:graphicFrameMkLst>
        </pc:graphicFrameChg>
        <pc:graphicFrameChg chg="add mod">
          <ac:chgData name="Meyer Raphael (PAR-ES)" userId="79615dfe-ed48-4e74-a40f-4f7b034c1c27" providerId="ADAL" clId="{C3BA7792-AF9F-4D74-B393-5D6FA2F18B07}" dt="2021-04-12T12:28:39.219" v="426" actId="552"/>
          <ac:graphicFrameMkLst>
            <pc:docMk/>
            <pc:sldMk cId="3052738061" sldId="348"/>
            <ac:graphicFrameMk id="26" creationId="{B6049B58-D743-4BF8-ADBD-2CBD12961E56}"/>
          </ac:graphicFrameMkLst>
        </pc:graphicFrameChg>
      </pc:sldChg>
    </pc:docChg>
  </pc:docChgLst>
  <pc:docChgLst>
    <pc:chgData name="Meyer Raphael (PAR-ES)" userId="79615dfe-ed48-4e74-a40f-4f7b034c1c27" providerId="ADAL" clId="{D0BF9686-3B82-4CF7-A6D6-3C19556E6BFB}"/>
    <pc:docChg chg="undo custSel addSld delSld modSld sldOrd">
      <pc:chgData name="Meyer Raphael (PAR-ES)" userId="79615dfe-ed48-4e74-a40f-4f7b034c1c27" providerId="ADAL" clId="{D0BF9686-3B82-4CF7-A6D6-3C19556E6BFB}" dt="2021-04-08T06:35:27.798" v="85" actId="47"/>
      <pc:docMkLst>
        <pc:docMk/>
      </pc:docMkLst>
      <pc:sldChg chg="modSp mod">
        <pc:chgData name="Meyer Raphael (PAR-ES)" userId="79615dfe-ed48-4e74-a40f-4f7b034c1c27" providerId="ADAL" clId="{D0BF9686-3B82-4CF7-A6D6-3C19556E6BFB}" dt="2021-04-08T06:31:10.289" v="55" actId="27918"/>
        <pc:sldMkLst>
          <pc:docMk/>
          <pc:sldMk cId="1667945532" sldId="306"/>
        </pc:sldMkLst>
        <pc:spChg chg="mod">
          <ac:chgData name="Meyer Raphael (PAR-ES)" userId="79615dfe-ed48-4e74-a40f-4f7b034c1c27" providerId="ADAL" clId="{D0BF9686-3B82-4CF7-A6D6-3C19556E6BFB}" dt="2021-04-08T06:25:46.897" v="1" actId="20577"/>
          <ac:spMkLst>
            <pc:docMk/>
            <pc:sldMk cId="1667945532" sldId="306"/>
            <ac:spMk id="8" creationId="{5857C2A1-2CB8-4D4A-AEFD-E809BF73D04F}"/>
          </ac:spMkLst>
        </pc:spChg>
        <pc:spChg chg="mod">
          <ac:chgData name="Meyer Raphael (PAR-ES)" userId="79615dfe-ed48-4e74-a40f-4f7b034c1c27" providerId="ADAL" clId="{D0BF9686-3B82-4CF7-A6D6-3C19556E6BFB}" dt="2021-04-08T06:26:07.163" v="9" actId="20577"/>
          <ac:spMkLst>
            <pc:docMk/>
            <pc:sldMk cId="1667945532" sldId="306"/>
            <ac:spMk id="27" creationId="{46A6B042-39EE-4A58-BBAA-13D52264B660}"/>
          </ac:spMkLst>
        </pc:spChg>
        <pc:spChg chg="mod">
          <ac:chgData name="Meyer Raphael (PAR-ES)" userId="79615dfe-ed48-4e74-a40f-4f7b034c1c27" providerId="ADAL" clId="{D0BF9686-3B82-4CF7-A6D6-3C19556E6BFB}" dt="2021-04-08T06:27:59.729" v="29" actId="20577"/>
          <ac:spMkLst>
            <pc:docMk/>
            <pc:sldMk cId="1667945532" sldId="306"/>
            <ac:spMk id="28" creationId="{4492A3CD-6943-423D-BFEC-8129889E8B6F}"/>
          </ac:spMkLst>
        </pc:spChg>
        <pc:spChg chg="mod">
          <ac:chgData name="Meyer Raphael (PAR-ES)" userId="79615dfe-ed48-4e74-a40f-4f7b034c1c27" providerId="ADAL" clId="{D0BF9686-3B82-4CF7-A6D6-3C19556E6BFB}" dt="2021-04-08T06:26:20.350" v="13" actId="20577"/>
          <ac:spMkLst>
            <pc:docMk/>
            <pc:sldMk cId="1667945532" sldId="306"/>
            <ac:spMk id="31" creationId="{7491A47D-CAD4-478D-8F3A-296FFCB799F9}"/>
          </ac:spMkLst>
        </pc:spChg>
        <pc:spChg chg="mod">
          <ac:chgData name="Meyer Raphael (PAR-ES)" userId="79615dfe-ed48-4e74-a40f-4f7b034c1c27" providerId="ADAL" clId="{D0BF9686-3B82-4CF7-A6D6-3C19556E6BFB}" dt="2021-04-08T06:30:22.033" v="43" actId="1076"/>
          <ac:spMkLst>
            <pc:docMk/>
            <pc:sldMk cId="1667945532" sldId="306"/>
            <ac:spMk id="32" creationId="{E65DDA4F-7190-4D5B-B875-6818D18C9F6E}"/>
          </ac:spMkLst>
        </pc:spChg>
      </pc:sldChg>
      <pc:sldChg chg="del">
        <pc:chgData name="Meyer Raphael (PAR-ES)" userId="79615dfe-ed48-4e74-a40f-4f7b034c1c27" providerId="ADAL" clId="{D0BF9686-3B82-4CF7-A6D6-3C19556E6BFB}" dt="2021-04-08T06:33:53.839" v="71" actId="47"/>
        <pc:sldMkLst>
          <pc:docMk/>
          <pc:sldMk cId="2400256824" sldId="342"/>
        </pc:sldMkLst>
      </pc:sldChg>
      <pc:sldChg chg="del">
        <pc:chgData name="Meyer Raphael (PAR-ES)" userId="79615dfe-ed48-4e74-a40f-4f7b034c1c27" providerId="ADAL" clId="{D0BF9686-3B82-4CF7-A6D6-3C19556E6BFB}" dt="2021-04-08T06:35:27.798" v="85" actId="47"/>
        <pc:sldMkLst>
          <pc:docMk/>
          <pc:sldMk cId="684558250" sldId="343"/>
        </pc:sldMkLst>
      </pc:sldChg>
      <pc:sldChg chg="addSp delSp modSp add mod ord">
        <pc:chgData name="Meyer Raphael (PAR-ES)" userId="79615dfe-ed48-4e74-a40f-4f7b034c1c27" providerId="ADAL" clId="{D0BF9686-3B82-4CF7-A6D6-3C19556E6BFB}" dt="2021-04-08T06:33:42.425" v="70"/>
        <pc:sldMkLst>
          <pc:docMk/>
          <pc:sldMk cId="2164349284" sldId="344"/>
        </pc:sldMkLst>
        <pc:spChg chg="mod">
          <ac:chgData name="Meyer Raphael (PAR-ES)" userId="79615dfe-ed48-4e74-a40f-4f7b034c1c27" providerId="ADAL" clId="{D0BF9686-3B82-4CF7-A6D6-3C19556E6BFB}" dt="2021-04-08T06:33:36.770" v="69" actId="1076"/>
          <ac:spMkLst>
            <pc:docMk/>
            <pc:sldMk cId="2164349284" sldId="344"/>
            <ac:spMk id="2" creationId="{A2DC317F-F1F4-4624-8FC1-3B68C1DBB3DA}"/>
          </ac:spMkLst>
        </pc:spChg>
        <pc:spChg chg="del">
          <ac:chgData name="Meyer Raphael (PAR-ES)" userId="79615dfe-ed48-4e74-a40f-4f7b034c1c27" providerId="ADAL" clId="{D0BF9686-3B82-4CF7-A6D6-3C19556E6BFB}" dt="2021-04-08T06:32:43.194" v="62" actId="478"/>
          <ac:spMkLst>
            <pc:docMk/>
            <pc:sldMk cId="2164349284" sldId="344"/>
            <ac:spMk id="7" creationId="{BA3F9A72-0541-4D1F-8CD8-1C2B8074FA1B}"/>
          </ac:spMkLst>
        </pc:spChg>
        <pc:spChg chg="mod">
          <ac:chgData name="Meyer Raphael (PAR-ES)" userId="79615dfe-ed48-4e74-a40f-4f7b034c1c27" providerId="ADAL" clId="{D0BF9686-3B82-4CF7-A6D6-3C19556E6BFB}" dt="2021-04-08T06:33:25.297" v="67" actId="14100"/>
          <ac:spMkLst>
            <pc:docMk/>
            <pc:sldMk cId="2164349284" sldId="344"/>
            <ac:spMk id="8" creationId="{5857C2A1-2CB8-4D4A-AEFD-E809BF73D04F}"/>
          </ac:spMkLst>
        </pc:spChg>
        <pc:spChg chg="del">
          <ac:chgData name="Meyer Raphael (PAR-ES)" userId="79615dfe-ed48-4e74-a40f-4f7b034c1c27" providerId="ADAL" clId="{D0BF9686-3B82-4CF7-A6D6-3C19556E6BFB}" dt="2021-04-08T06:32:43.194" v="62" actId="478"/>
          <ac:spMkLst>
            <pc:docMk/>
            <pc:sldMk cId="2164349284" sldId="344"/>
            <ac:spMk id="9" creationId="{B6990B61-32B2-4ADC-BF01-EDF7B4080F97}"/>
          </ac:spMkLst>
        </pc:spChg>
        <pc:spChg chg="mod">
          <ac:chgData name="Meyer Raphael (PAR-ES)" userId="79615dfe-ed48-4e74-a40f-4f7b034c1c27" providerId="ADAL" clId="{D0BF9686-3B82-4CF7-A6D6-3C19556E6BFB}" dt="2021-04-08T06:33:12.881" v="65"/>
          <ac:spMkLst>
            <pc:docMk/>
            <pc:sldMk cId="2164349284" sldId="344"/>
            <ac:spMk id="10" creationId="{077DFD58-E5EE-4B68-9325-D935DB04DD40}"/>
          </ac:spMkLst>
        </pc:spChg>
        <pc:spChg chg="del">
          <ac:chgData name="Meyer Raphael (PAR-ES)" userId="79615dfe-ed48-4e74-a40f-4f7b034c1c27" providerId="ADAL" clId="{D0BF9686-3B82-4CF7-A6D6-3C19556E6BFB}" dt="2021-04-08T06:32:43.194" v="62" actId="478"/>
          <ac:spMkLst>
            <pc:docMk/>
            <pc:sldMk cId="2164349284" sldId="344"/>
            <ac:spMk id="17" creationId="{785E740C-F94A-4208-8DFD-63A603C16577}"/>
          </ac:spMkLst>
        </pc:spChg>
        <pc:spChg chg="add mod">
          <ac:chgData name="Meyer Raphael (PAR-ES)" userId="79615dfe-ed48-4e74-a40f-4f7b034c1c27" providerId="ADAL" clId="{D0BF9686-3B82-4CF7-A6D6-3C19556E6BFB}" dt="2021-04-08T06:32:54.812" v="63"/>
          <ac:spMkLst>
            <pc:docMk/>
            <pc:sldMk cId="2164349284" sldId="344"/>
            <ac:spMk id="21" creationId="{88C35928-E80D-468D-83DD-1D8DE54D7E33}"/>
          </ac:spMkLst>
        </pc:spChg>
        <pc:spChg chg="add mod">
          <ac:chgData name="Meyer Raphael (PAR-ES)" userId="79615dfe-ed48-4e74-a40f-4f7b034c1c27" providerId="ADAL" clId="{D0BF9686-3B82-4CF7-A6D6-3C19556E6BFB}" dt="2021-04-08T06:32:54.812" v="63"/>
          <ac:spMkLst>
            <pc:docMk/>
            <pc:sldMk cId="2164349284" sldId="344"/>
            <ac:spMk id="22" creationId="{20D1AB08-C066-4256-A6EF-DC46ED8896AC}"/>
          </ac:spMkLst>
        </pc:spChg>
        <pc:spChg chg="add mod">
          <ac:chgData name="Meyer Raphael (PAR-ES)" userId="79615dfe-ed48-4e74-a40f-4f7b034c1c27" providerId="ADAL" clId="{D0BF9686-3B82-4CF7-A6D6-3C19556E6BFB}" dt="2021-04-08T06:32:54.812" v="63"/>
          <ac:spMkLst>
            <pc:docMk/>
            <pc:sldMk cId="2164349284" sldId="344"/>
            <ac:spMk id="23" creationId="{FF630629-F355-48F1-8C43-E47359087DC3}"/>
          </ac:spMkLst>
        </pc:spChg>
        <pc:spChg chg="add mod">
          <ac:chgData name="Meyer Raphael (PAR-ES)" userId="79615dfe-ed48-4e74-a40f-4f7b034c1c27" providerId="ADAL" clId="{D0BF9686-3B82-4CF7-A6D6-3C19556E6BFB}" dt="2021-04-08T06:32:54.812" v="63"/>
          <ac:spMkLst>
            <pc:docMk/>
            <pc:sldMk cId="2164349284" sldId="344"/>
            <ac:spMk id="25" creationId="{2F2CD3C6-391B-4F16-9005-961829E2EB10}"/>
          </ac:spMkLst>
        </pc:spChg>
        <pc:spChg chg="del">
          <ac:chgData name="Meyer Raphael (PAR-ES)" userId="79615dfe-ed48-4e74-a40f-4f7b034c1c27" providerId="ADAL" clId="{D0BF9686-3B82-4CF7-A6D6-3C19556E6BFB}" dt="2021-04-08T06:32:43.194" v="62" actId="478"/>
          <ac:spMkLst>
            <pc:docMk/>
            <pc:sldMk cId="2164349284" sldId="344"/>
            <ac:spMk id="26" creationId="{BFD498B5-D73E-4C8A-9FAF-B3547647538C}"/>
          </ac:spMkLst>
        </pc:spChg>
        <pc:spChg chg="mod">
          <ac:chgData name="Meyer Raphael (PAR-ES)" userId="79615dfe-ed48-4e74-a40f-4f7b034c1c27" providerId="ADAL" clId="{D0BF9686-3B82-4CF7-A6D6-3C19556E6BFB}" dt="2021-04-08T06:33:42.425" v="70"/>
          <ac:spMkLst>
            <pc:docMk/>
            <pc:sldMk cId="2164349284" sldId="344"/>
            <ac:spMk id="27" creationId="{46A6B042-39EE-4A58-BBAA-13D52264B660}"/>
          </ac:spMkLst>
        </pc:spChg>
      </pc:sldChg>
      <pc:sldChg chg="addSp delSp modSp add mod ord">
        <pc:chgData name="Meyer Raphael (PAR-ES)" userId="79615dfe-ed48-4e74-a40f-4f7b034c1c27" providerId="ADAL" clId="{D0BF9686-3B82-4CF7-A6D6-3C19556E6BFB}" dt="2021-04-08T06:35:19.954" v="84" actId="14100"/>
        <pc:sldMkLst>
          <pc:docMk/>
          <pc:sldMk cId="2994949244" sldId="345"/>
        </pc:sldMkLst>
        <pc:spChg chg="mod">
          <ac:chgData name="Meyer Raphael (PAR-ES)" userId="79615dfe-ed48-4e74-a40f-4f7b034c1c27" providerId="ADAL" clId="{D0BF9686-3B82-4CF7-A6D6-3C19556E6BFB}" dt="2021-04-08T06:34:47.665" v="79"/>
          <ac:spMkLst>
            <pc:docMk/>
            <pc:sldMk cId="2994949244" sldId="345"/>
            <ac:spMk id="2" creationId="{A2DC317F-F1F4-4624-8FC1-3B68C1DBB3DA}"/>
          </ac:spMkLst>
        </pc:spChg>
        <pc:spChg chg="del">
          <ac:chgData name="Meyer Raphael (PAR-ES)" userId="79615dfe-ed48-4e74-a40f-4f7b034c1c27" providerId="ADAL" clId="{D0BF9686-3B82-4CF7-A6D6-3C19556E6BFB}" dt="2021-04-08T06:34:04.164" v="72" actId="478"/>
          <ac:spMkLst>
            <pc:docMk/>
            <pc:sldMk cId="2994949244" sldId="345"/>
            <ac:spMk id="7" creationId="{BA3F9A72-0541-4D1F-8CD8-1C2B8074FA1B}"/>
          </ac:spMkLst>
        </pc:spChg>
        <pc:spChg chg="mod">
          <ac:chgData name="Meyer Raphael (PAR-ES)" userId="79615dfe-ed48-4e74-a40f-4f7b034c1c27" providerId="ADAL" clId="{D0BF9686-3B82-4CF7-A6D6-3C19556E6BFB}" dt="2021-04-08T06:35:05.165" v="82" actId="14100"/>
          <ac:spMkLst>
            <pc:docMk/>
            <pc:sldMk cId="2994949244" sldId="345"/>
            <ac:spMk id="8" creationId="{5857C2A1-2CB8-4D4A-AEFD-E809BF73D04F}"/>
          </ac:spMkLst>
        </pc:spChg>
        <pc:spChg chg="del">
          <ac:chgData name="Meyer Raphael (PAR-ES)" userId="79615dfe-ed48-4e74-a40f-4f7b034c1c27" providerId="ADAL" clId="{D0BF9686-3B82-4CF7-A6D6-3C19556E6BFB}" dt="2021-04-08T06:34:04.164" v="72" actId="478"/>
          <ac:spMkLst>
            <pc:docMk/>
            <pc:sldMk cId="2994949244" sldId="345"/>
            <ac:spMk id="9" creationId="{B6990B61-32B2-4ADC-BF01-EDF7B4080F97}"/>
          </ac:spMkLst>
        </pc:spChg>
        <pc:spChg chg="mod">
          <ac:chgData name="Meyer Raphael (PAR-ES)" userId="79615dfe-ed48-4e74-a40f-4f7b034c1c27" providerId="ADAL" clId="{D0BF9686-3B82-4CF7-A6D6-3C19556E6BFB}" dt="2021-04-08T06:34:55.721" v="80"/>
          <ac:spMkLst>
            <pc:docMk/>
            <pc:sldMk cId="2994949244" sldId="345"/>
            <ac:spMk id="10" creationId="{077DFD58-E5EE-4B68-9325-D935DB04DD40}"/>
          </ac:spMkLst>
        </pc:spChg>
        <pc:spChg chg="del">
          <ac:chgData name="Meyer Raphael (PAR-ES)" userId="79615dfe-ed48-4e74-a40f-4f7b034c1c27" providerId="ADAL" clId="{D0BF9686-3B82-4CF7-A6D6-3C19556E6BFB}" dt="2021-04-08T06:34:04.164" v="72" actId="478"/>
          <ac:spMkLst>
            <pc:docMk/>
            <pc:sldMk cId="2994949244" sldId="345"/>
            <ac:spMk id="17" creationId="{785E740C-F94A-4208-8DFD-63A603C16577}"/>
          </ac:spMkLst>
        </pc:spChg>
        <pc:spChg chg="add mod">
          <ac:chgData name="Meyer Raphael (PAR-ES)" userId="79615dfe-ed48-4e74-a40f-4f7b034c1c27" providerId="ADAL" clId="{D0BF9686-3B82-4CF7-A6D6-3C19556E6BFB}" dt="2021-04-08T06:34:15.689" v="73"/>
          <ac:spMkLst>
            <pc:docMk/>
            <pc:sldMk cId="2994949244" sldId="345"/>
            <ac:spMk id="21" creationId="{933C6865-8952-4704-8A84-E215B8185F98}"/>
          </ac:spMkLst>
        </pc:spChg>
        <pc:spChg chg="add mod">
          <ac:chgData name="Meyer Raphael (PAR-ES)" userId="79615dfe-ed48-4e74-a40f-4f7b034c1c27" providerId="ADAL" clId="{D0BF9686-3B82-4CF7-A6D6-3C19556E6BFB}" dt="2021-04-08T06:34:15.689" v="73"/>
          <ac:spMkLst>
            <pc:docMk/>
            <pc:sldMk cId="2994949244" sldId="345"/>
            <ac:spMk id="22" creationId="{91FFFA32-4338-4697-9445-C8BE2722956A}"/>
          </ac:spMkLst>
        </pc:spChg>
        <pc:spChg chg="add mod">
          <ac:chgData name="Meyer Raphael (PAR-ES)" userId="79615dfe-ed48-4e74-a40f-4f7b034c1c27" providerId="ADAL" clId="{D0BF9686-3B82-4CF7-A6D6-3C19556E6BFB}" dt="2021-04-08T06:34:15.689" v="73"/>
          <ac:spMkLst>
            <pc:docMk/>
            <pc:sldMk cId="2994949244" sldId="345"/>
            <ac:spMk id="23" creationId="{D27DDA6F-0506-4E86-AAB8-5622BF5A0FDB}"/>
          </ac:spMkLst>
        </pc:spChg>
        <pc:spChg chg="add del mod">
          <ac:chgData name="Meyer Raphael (PAR-ES)" userId="79615dfe-ed48-4e74-a40f-4f7b034c1c27" providerId="ADAL" clId="{D0BF9686-3B82-4CF7-A6D6-3C19556E6BFB}" dt="2021-04-08T06:34:23.611" v="75"/>
          <ac:spMkLst>
            <pc:docMk/>
            <pc:sldMk cId="2994949244" sldId="345"/>
            <ac:spMk id="25" creationId="{573F8765-3DD7-4C1C-A674-A57150AF63CC}"/>
          </ac:spMkLst>
        </pc:spChg>
        <pc:spChg chg="del">
          <ac:chgData name="Meyer Raphael (PAR-ES)" userId="79615dfe-ed48-4e74-a40f-4f7b034c1c27" providerId="ADAL" clId="{D0BF9686-3B82-4CF7-A6D6-3C19556E6BFB}" dt="2021-04-08T06:34:04.164" v="72" actId="478"/>
          <ac:spMkLst>
            <pc:docMk/>
            <pc:sldMk cId="2994949244" sldId="345"/>
            <ac:spMk id="26" creationId="{BFD498B5-D73E-4C8A-9FAF-B3547647538C}"/>
          </ac:spMkLst>
        </pc:spChg>
        <pc:spChg chg="mod">
          <ac:chgData name="Meyer Raphael (PAR-ES)" userId="79615dfe-ed48-4e74-a40f-4f7b034c1c27" providerId="ADAL" clId="{D0BF9686-3B82-4CF7-A6D6-3C19556E6BFB}" dt="2021-04-08T06:35:19.954" v="84" actId="14100"/>
          <ac:spMkLst>
            <pc:docMk/>
            <pc:sldMk cId="2994949244" sldId="345"/>
            <ac:spMk id="27" creationId="{46A6B042-39EE-4A58-BBAA-13D52264B660}"/>
          </ac:spMkLst>
        </pc:spChg>
        <pc:spChg chg="add del mod">
          <ac:chgData name="Meyer Raphael (PAR-ES)" userId="79615dfe-ed48-4e74-a40f-4f7b034c1c27" providerId="ADAL" clId="{D0BF9686-3B82-4CF7-A6D6-3C19556E6BFB}" dt="2021-04-08T06:34:23.611" v="75"/>
          <ac:spMkLst>
            <pc:docMk/>
            <pc:sldMk cId="2994949244" sldId="345"/>
            <ac:spMk id="33" creationId="{EEB991F9-AEBD-4E8A-AE7D-9B7B2074D94C}"/>
          </ac:spMkLst>
        </pc:spChg>
        <pc:spChg chg="add del mod">
          <ac:chgData name="Meyer Raphael (PAR-ES)" userId="79615dfe-ed48-4e74-a40f-4f7b034c1c27" providerId="ADAL" clId="{D0BF9686-3B82-4CF7-A6D6-3C19556E6BFB}" dt="2021-04-08T06:34:23.611" v="75"/>
          <ac:spMkLst>
            <pc:docMk/>
            <pc:sldMk cId="2994949244" sldId="345"/>
            <ac:spMk id="36" creationId="{902858BE-1395-4A7C-A0C3-30D2780C74E6}"/>
          </ac:spMkLst>
        </pc:spChg>
        <pc:spChg chg="add del mod">
          <ac:chgData name="Meyer Raphael (PAR-ES)" userId="79615dfe-ed48-4e74-a40f-4f7b034c1c27" providerId="ADAL" clId="{D0BF9686-3B82-4CF7-A6D6-3C19556E6BFB}" dt="2021-04-08T06:34:30.993" v="77"/>
          <ac:spMkLst>
            <pc:docMk/>
            <pc:sldMk cId="2994949244" sldId="345"/>
            <ac:spMk id="37" creationId="{1B8D3E6D-F901-4539-AC5C-5420A2A19A23}"/>
          </ac:spMkLst>
        </pc:spChg>
        <pc:spChg chg="add del mod">
          <ac:chgData name="Meyer Raphael (PAR-ES)" userId="79615dfe-ed48-4e74-a40f-4f7b034c1c27" providerId="ADAL" clId="{D0BF9686-3B82-4CF7-A6D6-3C19556E6BFB}" dt="2021-04-08T06:34:30.993" v="77"/>
          <ac:spMkLst>
            <pc:docMk/>
            <pc:sldMk cId="2994949244" sldId="345"/>
            <ac:spMk id="38" creationId="{235DB7B3-D364-460F-95D9-A28BA0CD52DD}"/>
          </ac:spMkLst>
        </pc:spChg>
        <pc:spChg chg="add del mod">
          <ac:chgData name="Meyer Raphael (PAR-ES)" userId="79615dfe-ed48-4e74-a40f-4f7b034c1c27" providerId="ADAL" clId="{D0BF9686-3B82-4CF7-A6D6-3C19556E6BFB}" dt="2021-04-08T06:34:30.993" v="77"/>
          <ac:spMkLst>
            <pc:docMk/>
            <pc:sldMk cId="2994949244" sldId="345"/>
            <ac:spMk id="39" creationId="{C92F2BFC-8B5B-44D9-A0F9-156E7461995C}"/>
          </ac:spMkLst>
        </pc:spChg>
        <pc:spChg chg="add mod">
          <ac:chgData name="Meyer Raphael (PAR-ES)" userId="79615dfe-ed48-4e74-a40f-4f7b034c1c27" providerId="ADAL" clId="{D0BF9686-3B82-4CF7-A6D6-3C19556E6BFB}" dt="2021-04-08T06:34:37.548" v="78"/>
          <ac:spMkLst>
            <pc:docMk/>
            <pc:sldMk cId="2994949244" sldId="345"/>
            <ac:spMk id="40" creationId="{662137A3-D0A5-45D7-A3D9-9932A46199E2}"/>
          </ac:spMkLst>
        </pc:spChg>
      </pc:sldChg>
    </pc:docChg>
  </pc:docChgLst>
  <pc:docChgLst>
    <pc:chgData name="Meyer Raphael (PAR-ES)" userId="79615dfe-ed48-4e74-a40f-4f7b034c1c27" providerId="ADAL" clId="{97A640CE-C770-49C4-B5FE-7745D283A7E3}"/>
    <pc:docChg chg="modSld">
      <pc:chgData name="Meyer Raphael (PAR-ES)" userId="79615dfe-ed48-4e74-a40f-4f7b034c1c27" providerId="ADAL" clId="{97A640CE-C770-49C4-B5FE-7745D283A7E3}" dt="2021-10-21T07:38:10.777" v="0" actId="27918"/>
      <pc:docMkLst>
        <pc:docMk/>
      </pc:docMkLst>
      <pc:sldChg chg="mod">
        <pc:chgData name="Meyer Raphael (PAR-ES)" userId="79615dfe-ed48-4e74-a40f-4f7b034c1c27" providerId="ADAL" clId="{97A640CE-C770-49C4-B5FE-7745D283A7E3}" dt="2021-10-21T07:38:10.777" v="0" actId="27918"/>
        <pc:sldMkLst>
          <pc:docMk/>
          <pc:sldMk cId="1199121354" sldId="417"/>
        </pc:sldMkLst>
      </pc:sldChg>
    </pc:docChg>
  </pc:docChgLst>
  <pc:docChgLst>
    <pc:chgData name="Meyer Raphael (PAR-ES)" userId="79615dfe-ed48-4e74-a40f-4f7b034c1c27" providerId="ADAL" clId="{B3134076-241D-49A8-BDE6-7DC2169DB06A}"/>
    <pc:docChg chg="modSld">
      <pc:chgData name="Meyer Raphael (PAR-ES)" userId="79615dfe-ed48-4e74-a40f-4f7b034c1c27" providerId="ADAL" clId="{B3134076-241D-49A8-BDE6-7DC2169DB06A}" dt="2021-11-30T12:10:05.292" v="4" actId="27918"/>
      <pc:docMkLst>
        <pc:docMk/>
      </pc:docMkLst>
      <pc:sldChg chg="mod">
        <pc:chgData name="Meyer Raphael (PAR-ES)" userId="79615dfe-ed48-4e74-a40f-4f7b034c1c27" providerId="ADAL" clId="{B3134076-241D-49A8-BDE6-7DC2169DB06A}" dt="2021-11-30T12:10:05.292" v="4" actId="27918"/>
        <pc:sldMkLst>
          <pc:docMk/>
          <pc:sldMk cId="2641487227" sldId="271"/>
        </pc:sldMkLst>
      </pc:sldChg>
    </pc:docChg>
  </pc:docChgLst>
  <pc:docChgLst>
    <pc:chgData name="Meyer Raphael (PAR-ES)" userId="79615dfe-ed48-4e74-a40f-4f7b034c1c27" providerId="ADAL" clId="{CC037D72-AD94-45AC-86A2-5E4959515F3C}"/>
    <pc:docChg chg="custSel modSld">
      <pc:chgData name="Meyer Raphael (PAR-ES)" userId="79615dfe-ed48-4e74-a40f-4f7b034c1c27" providerId="ADAL" clId="{CC037D72-AD94-45AC-86A2-5E4959515F3C}" dt="2021-11-16T15:17:44.639" v="188"/>
      <pc:docMkLst>
        <pc:docMk/>
      </pc:docMkLst>
      <pc:sldChg chg="addSp delSp modSp mod">
        <pc:chgData name="Meyer Raphael (PAR-ES)" userId="79615dfe-ed48-4e74-a40f-4f7b034c1c27" providerId="ADAL" clId="{CC037D72-AD94-45AC-86A2-5E4959515F3C}" dt="2021-11-16T15:17:44.639" v="188"/>
        <pc:sldMkLst>
          <pc:docMk/>
          <pc:sldMk cId="2641487227" sldId="271"/>
        </pc:sldMkLst>
        <pc:spChg chg="add del mod">
          <ac:chgData name="Meyer Raphael (PAR-ES)" userId="79615dfe-ed48-4e74-a40f-4f7b034c1c27" providerId="ADAL" clId="{CC037D72-AD94-45AC-86A2-5E4959515F3C}" dt="2021-11-16T15:02:17.381" v="128" actId="478"/>
          <ac:spMkLst>
            <pc:docMk/>
            <pc:sldMk cId="2641487227" sldId="271"/>
            <ac:spMk id="3" creationId="{75819DB9-B5A3-47E4-858A-DC0D2C5DA1C7}"/>
          </ac:spMkLst>
        </pc:spChg>
        <pc:spChg chg="mod">
          <ac:chgData name="Meyer Raphael (PAR-ES)" userId="79615dfe-ed48-4e74-a40f-4f7b034c1c27" providerId="ADAL" clId="{CC037D72-AD94-45AC-86A2-5E4959515F3C}" dt="2021-11-16T14:49:37.120" v="90" actId="20577"/>
          <ac:spMkLst>
            <pc:docMk/>
            <pc:sldMk cId="2641487227" sldId="271"/>
            <ac:spMk id="6" creationId="{0148E78D-7FBB-46BC-A7E3-0EFE6D9E4679}"/>
          </ac:spMkLst>
        </pc:spChg>
        <pc:spChg chg="add del mod">
          <ac:chgData name="Meyer Raphael (PAR-ES)" userId="79615dfe-ed48-4e74-a40f-4f7b034c1c27" providerId="ADAL" clId="{CC037D72-AD94-45AC-86A2-5E4959515F3C}" dt="2021-11-16T15:02:14.806" v="127" actId="478"/>
          <ac:spMkLst>
            <pc:docMk/>
            <pc:sldMk cId="2641487227" sldId="271"/>
            <ac:spMk id="8" creationId="{03CE64C9-F04E-48CE-8658-CF9D275647F6}"/>
          </ac:spMkLst>
        </pc:spChg>
        <pc:spChg chg="mod">
          <ac:chgData name="Meyer Raphael (PAR-ES)" userId="79615dfe-ed48-4e74-a40f-4f7b034c1c27" providerId="ADAL" clId="{CC037D72-AD94-45AC-86A2-5E4959515F3C}" dt="2021-11-16T14:53:39.256" v="100" actId="20577"/>
          <ac:spMkLst>
            <pc:docMk/>
            <pc:sldMk cId="2641487227" sldId="271"/>
            <ac:spMk id="10" creationId="{41B9B9AB-4B12-4760-AF37-4FABDDFAE68B}"/>
          </ac:spMkLst>
        </pc:spChg>
        <pc:graphicFrameChg chg="mod">
          <ac:chgData name="Meyer Raphael (PAR-ES)" userId="79615dfe-ed48-4e74-a40f-4f7b034c1c27" providerId="ADAL" clId="{CC037D72-AD94-45AC-86A2-5E4959515F3C}" dt="2021-11-16T15:17:44.639" v="188"/>
          <ac:graphicFrameMkLst>
            <pc:docMk/>
            <pc:sldMk cId="2641487227" sldId="271"/>
            <ac:graphicFrameMk id="9" creationId="{00000000-0000-0000-0000-000000000000}"/>
          </ac:graphicFrameMkLst>
        </pc:graphicFrameChg>
      </pc:sldChg>
    </pc:docChg>
  </pc:docChgLst>
  <pc:docChgLst>
    <pc:chgData name="Meyer Raphael (PAR-ES)" userId="79615dfe-ed48-4e74-a40f-4f7b034c1c27" providerId="ADAL" clId="{FCCE55FE-14A3-4665-9FBE-1E216319A24F}"/>
    <pc:docChg chg="undo custSel addSld delSld modSld sldOrd">
      <pc:chgData name="Meyer Raphael (PAR-ES)" userId="79615dfe-ed48-4e74-a40f-4f7b034c1c27" providerId="ADAL" clId="{FCCE55FE-14A3-4665-9FBE-1E216319A24F}" dt="2021-01-28T09:05:36.669" v="347" actId="2696"/>
      <pc:docMkLst>
        <pc:docMk/>
      </pc:docMkLst>
      <pc:sldChg chg="modSp mod">
        <pc:chgData name="Meyer Raphael (PAR-ES)" userId="79615dfe-ed48-4e74-a40f-4f7b034c1c27" providerId="ADAL" clId="{FCCE55FE-14A3-4665-9FBE-1E216319A24F}" dt="2021-01-28T09:04:46.463" v="342" actId="1035"/>
        <pc:sldMkLst>
          <pc:docMk/>
          <pc:sldMk cId="1667945532" sldId="306"/>
        </pc:sldMkLst>
        <pc:spChg chg="mod">
          <ac:chgData name="Meyer Raphael (PAR-ES)" userId="79615dfe-ed48-4e74-a40f-4f7b034c1c27" providerId="ADAL" clId="{FCCE55FE-14A3-4665-9FBE-1E216319A24F}" dt="2021-01-28T09:04:46.463" v="342" actId="1035"/>
          <ac:spMkLst>
            <pc:docMk/>
            <pc:sldMk cId="1667945532" sldId="306"/>
            <ac:spMk id="8" creationId="{5857C2A1-2CB8-4D4A-AEFD-E809BF73D04F}"/>
          </ac:spMkLst>
        </pc:spChg>
        <pc:spChg chg="mod">
          <ac:chgData name="Meyer Raphael (PAR-ES)" userId="79615dfe-ed48-4e74-a40f-4f7b034c1c27" providerId="ADAL" clId="{FCCE55FE-14A3-4665-9FBE-1E216319A24F}" dt="2021-01-28T08:59:37.577" v="67" actId="20577"/>
          <ac:spMkLst>
            <pc:docMk/>
            <pc:sldMk cId="1667945532" sldId="306"/>
            <ac:spMk id="27" creationId="{46A6B042-39EE-4A58-BBAA-13D52264B660}"/>
          </ac:spMkLst>
        </pc:spChg>
        <pc:spChg chg="mod">
          <ac:chgData name="Meyer Raphael (PAR-ES)" userId="79615dfe-ed48-4e74-a40f-4f7b034c1c27" providerId="ADAL" clId="{FCCE55FE-14A3-4665-9FBE-1E216319A24F}" dt="2021-01-28T08:57:58.640" v="60" actId="1076"/>
          <ac:spMkLst>
            <pc:docMk/>
            <pc:sldMk cId="1667945532" sldId="306"/>
            <ac:spMk id="28" creationId="{4492A3CD-6943-423D-BFEC-8129889E8B6F}"/>
          </ac:spMkLst>
        </pc:spChg>
        <pc:spChg chg="mod">
          <ac:chgData name="Meyer Raphael (PAR-ES)" userId="79615dfe-ed48-4e74-a40f-4f7b034c1c27" providerId="ADAL" clId="{FCCE55FE-14A3-4665-9FBE-1E216319A24F}" dt="2021-01-28T08:53:47.872" v="25" actId="20577"/>
          <ac:spMkLst>
            <pc:docMk/>
            <pc:sldMk cId="1667945532" sldId="306"/>
            <ac:spMk id="31" creationId="{7491A47D-CAD4-478D-8F3A-296FFCB799F9}"/>
          </ac:spMkLst>
        </pc:spChg>
        <pc:spChg chg="mod">
          <ac:chgData name="Meyer Raphael (PAR-ES)" userId="79615dfe-ed48-4e74-a40f-4f7b034c1c27" providerId="ADAL" clId="{FCCE55FE-14A3-4665-9FBE-1E216319A24F}" dt="2021-01-28T08:55:56.366" v="41" actId="1076"/>
          <ac:spMkLst>
            <pc:docMk/>
            <pc:sldMk cId="1667945532" sldId="306"/>
            <ac:spMk id="32" creationId="{E65DDA4F-7190-4D5B-B875-6818D18C9F6E}"/>
          </ac:spMkLst>
        </pc:spChg>
        <pc:cxnChg chg="mod">
          <ac:chgData name="Meyer Raphael (PAR-ES)" userId="79615dfe-ed48-4e74-a40f-4f7b034c1c27" providerId="ADAL" clId="{FCCE55FE-14A3-4665-9FBE-1E216319A24F}" dt="2021-01-28T09:04:46.463" v="342" actId="1035"/>
          <ac:cxnSpMkLst>
            <pc:docMk/>
            <pc:sldMk cId="1667945532" sldId="306"/>
            <ac:cxnSpMk id="20" creationId="{07FCC63F-5E2F-43DF-84ED-5FFEC92A0042}"/>
          </ac:cxnSpMkLst>
        </pc:cxnChg>
        <pc:cxnChg chg="mod">
          <ac:chgData name="Meyer Raphael (PAR-ES)" userId="79615dfe-ed48-4e74-a40f-4f7b034c1c27" providerId="ADAL" clId="{FCCE55FE-14A3-4665-9FBE-1E216319A24F}" dt="2021-01-28T08:59:05.981" v="65" actId="1038"/>
          <ac:cxnSpMkLst>
            <pc:docMk/>
            <pc:sldMk cId="1667945532" sldId="306"/>
            <ac:cxnSpMk id="29" creationId="{FD3E902F-283F-48FC-9504-FF2FF4EA4BF0}"/>
          </ac:cxnSpMkLst>
        </pc:cxnChg>
        <pc:cxnChg chg="mod">
          <ac:chgData name="Meyer Raphael (PAR-ES)" userId="79615dfe-ed48-4e74-a40f-4f7b034c1c27" providerId="ADAL" clId="{FCCE55FE-14A3-4665-9FBE-1E216319A24F}" dt="2021-01-28T08:58:16.300" v="62" actId="1038"/>
          <ac:cxnSpMkLst>
            <pc:docMk/>
            <pc:sldMk cId="1667945532" sldId="306"/>
            <ac:cxnSpMk id="30" creationId="{1D702FCA-793F-404B-84D5-F14C318BFFB3}"/>
          </ac:cxnSpMkLst>
        </pc:cxnChg>
      </pc:sldChg>
      <pc:sldChg chg="add del">
        <pc:chgData name="Meyer Raphael (PAR-ES)" userId="79615dfe-ed48-4e74-a40f-4f7b034c1c27" providerId="ADAL" clId="{FCCE55FE-14A3-4665-9FBE-1E216319A24F}" dt="2021-01-28T09:05:36.669" v="347" actId="2696"/>
        <pc:sldMkLst>
          <pc:docMk/>
          <pc:sldMk cId="1323358563" sldId="321"/>
        </pc:sldMkLst>
      </pc:sldChg>
      <pc:sldChg chg="del">
        <pc:chgData name="Meyer Raphael (PAR-ES)" userId="79615dfe-ed48-4e74-a40f-4f7b034c1c27" providerId="ADAL" clId="{FCCE55FE-14A3-4665-9FBE-1E216319A24F}" dt="2021-01-28T09:02:20.071" v="157" actId="2696"/>
        <pc:sldMkLst>
          <pc:docMk/>
          <pc:sldMk cId="3034369345" sldId="322"/>
        </pc:sldMkLst>
      </pc:sldChg>
      <pc:sldChg chg="addSp delSp modSp add ord">
        <pc:chgData name="Meyer Raphael (PAR-ES)" userId="79615dfe-ed48-4e74-a40f-4f7b034c1c27" providerId="ADAL" clId="{FCCE55FE-14A3-4665-9FBE-1E216319A24F}" dt="2021-01-28T09:01:47.358" v="156" actId="1035"/>
        <pc:sldMkLst>
          <pc:docMk/>
          <pc:sldMk cId="3848357479" sldId="323"/>
        </pc:sldMkLst>
        <pc:spChg chg="mod">
          <ac:chgData name="Meyer Raphael (PAR-ES)" userId="79615dfe-ed48-4e74-a40f-4f7b034c1c27" providerId="ADAL" clId="{FCCE55FE-14A3-4665-9FBE-1E216319A24F}" dt="2021-01-28T09:00:44.070" v="74"/>
          <ac:spMkLst>
            <pc:docMk/>
            <pc:sldMk cId="3848357479" sldId="323"/>
            <ac:spMk id="2" creationId="{A2DC317F-F1F4-4624-8FC1-3B68C1DBB3DA}"/>
          </ac:spMkLst>
        </pc:spChg>
        <pc:spChg chg="del">
          <ac:chgData name="Meyer Raphael (PAR-ES)" userId="79615dfe-ed48-4e74-a40f-4f7b034c1c27" providerId="ADAL" clId="{FCCE55FE-14A3-4665-9FBE-1E216319A24F}" dt="2021-01-28T09:00:09.691" v="72" actId="478"/>
          <ac:spMkLst>
            <pc:docMk/>
            <pc:sldMk cId="3848357479" sldId="323"/>
            <ac:spMk id="7" creationId="{BA3F9A72-0541-4D1F-8CD8-1C2B8074FA1B}"/>
          </ac:spMkLst>
        </pc:spChg>
        <pc:spChg chg="mod">
          <ac:chgData name="Meyer Raphael (PAR-ES)" userId="79615dfe-ed48-4e74-a40f-4f7b034c1c27" providerId="ADAL" clId="{FCCE55FE-14A3-4665-9FBE-1E216319A24F}" dt="2021-01-28T09:01:47.358" v="156" actId="1035"/>
          <ac:spMkLst>
            <pc:docMk/>
            <pc:sldMk cId="3848357479" sldId="323"/>
            <ac:spMk id="8" creationId="{5857C2A1-2CB8-4D4A-AEFD-E809BF73D04F}"/>
          </ac:spMkLst>
        </pc:spChg>
        <pc:spChg chg="del">
          <ac:chgData name="Meyer Raphael (PAR-ES)" userId="79615dfe-ed48-4e74-a40f-4f7b034c1c27" providerId="ADAL" clId="{FCCE55FE-14A3-4665-9FBE-1E216319A24F}" dt="2021-01-28T09:00:09.691" v="72" actId="478"/>
          <ac:spMkLst>
            <pc:docMk/>
            <pc:sldMk cId="3848357479" sldId="323"/>
            <ac:spMk id="9" creationId="{B6990B61-32B2-4ADC-BF01-EDF7B4080F97}"/>
          </ac:spMkLst>
        </pc:spChg>
        <pc:spChg chg="mod">
          <ac:chgData name="Meyer Raphael (PAR-ES)" userId="79615dfe-ed48-4e74-a40f-4f7b034c1c27" providerId="ADAL" clId="{FCCE55FE-14A3-4665-9FBE-1E216319A24F}" dt="2021-01-28T09:00:54.584" v="75"/>
          <ac:spMkLst>
            <pc:docMk/>
            <pc:sldMk cId="3848357479" sldId="323"/>
            <ac:spMk id="10" creationId="{077DFD58-E5EE-4B68-9325-D935DB04DD40}"/>
          </ac:spMkLst>
        </pc:spChg>
        <pc:spChg chg="del">
          <ac:chgData name="Meyer Raphael (PAR-ES)" userId="79615dfe-ed48-4e74-a40f-4f7b034c1c27" providerId="ADAL" clId="{FCCE55FE-14A3-4665-9FBE-1E216319A24F}" dt="2021-01-28T09:00:09.691" v="72" actId="478"/>
          <ac:spMkLst>
            <pc:docMk/>
            <pc:sldMk cId="3848357479" sldId="323"/>
            <ac:spMk id="17" creationId="{785E740C-F94A-4208-8DFD-63A603C16577}"/>
          </ac:spMkLst>
        </pc:spChg>
        <pc:spChg chg="del">
          <ac:chgData name="Meyer Raphael (PAR-ES)" userId="79615dfe-ed48-4e74-a40f-4f7b034c1c27" providerId="ADAL" clId="{FCCE55FE-14A3-4665-9FBE-1E216319A24F}" dt="2021-01-28T09:00:09.691" v="72" actId="478"/>
          <ac:spMkLst>
            <pc:docMk/>
            <pc:sldMk cId="3848357479" sldId="323"/>
            <ac:spMk id="26" creationId="{BFD498B5-D73E-4C8A-9FAF-B3547647538C}"/>
          </ac:spMkLst>
        </pc:spChg>
        <pc:spChg chg="mod">
          <ac:chgData name="Meyer Raphael (PAR-ES)" userId="79615dfe-ed48-4e74-a40f-4f7b034c1c27" providerId="ADAL" clId="{FCCE55FE-14A3-4665-9FBE-1E216319A24F}" dt="2021-01-28T09:01:08.027" v="76"/>
          <ac:spMkLst>
            <pc:docMk/>
            <pc:sldMk cId="3848357479" sldId="323"/>
            <ac:spMk id="27" creationId="{46A6B042-39EE-4A58-BBAA-13D52264B660}"/>
          </ac:spMkLst>
        </pc:spChg>
        <pc:spChg chg="add">
          <ac:chgData name="Meyer Raphael (PAR-ES)" userId="79615dfe-ed48-4e74-a40f-4f7b034c1c27" providerId="ADAL" clId="{FCCE55FE-14A3-4665-9FBE-1E216319A24F}" dt="2021-01-28T09:00:26.701" v="73"/>
          <ac:spMkLst>
            <pc:docMk/>
            <pc:sldMk cId="3848357479" sldId="323"/>
            <ac:spMk id="36" creationId="{BFF15B23-AB44-47AB-8052-431C3C4CD8A7}"/>
          </ac:spMkLst>
        </pc:spChg>
        <pc:spChg chg="add">
          <ac:chgData name="Meyer Raphael (PAR-ES)" userId="79615dfe-ed48-4e74-a40f-4f7b034c1c27" providerId="ADAL" clId="{FCCE55FE-14A3-4665-9FBE-1E216319A24F}" dt="2021-01-28T09:00:26.701" v="73"/>
          <ac:spMkLst>
            <pc:docMk/>
            <pc:sldMk cId="3848357479" sldId="323"/>
            <ac:spMk id="38" creationId="{9266321F-423D-4DBA-8E57-4CE551E1E4A5}"/>
          </ac:spMkLst>
        </pc:spChg>
        <pc:spChg chg="add">
          <ac:chgData name="Meyer Raphael (PAR-ES)" userId="79615dfe-ed48-4e74-a40f-4f7b034c1c27" providerId="ADAL" clId="{FCCE55FE-14A3-4665-9FBE-1E216319A24F}" dt="2021-01-28T09:00:26.701" v="73"/>
          <ac:spMkLst>
            <pc:docMk/>
            <pc:sldMk cId="3848357479" sldId="323"/>
            <ac:spMk id="39" creationId="{A51C9C0C-B247-4AC7-99DE-530912CCA3B7}"/>
          </ac:spMkLst>
        </pc:spChg>
        <pc:spChg chg="add">
          <ac:chgData name="Meyer Raphael (PAR-ES)" userId="79615dfe-ed48-4e74-a40f-4f7b034c1c27" providerId="ADAL" clId="{FCCE55FE-14A3-4665-9FBE-1E216319A24F}" dt="2021-01-28T09:00:26.701" v="73"/>
          <ac:spMkLst>
            <pc:docMk/>
            <pc:sldMk cId="3848357479" sldId="323"/>
            <ac:spMk id="40" creationId="{EE48FF54-999A-42C7-BCBB-33CBB7272268}"/>
          </ac:spMkLst>
        </pc:spChg>
        <pc:cxnChg chg="mod">
          <ac:chgData name="Meyer Raphael (PAR-ES)" userId="79615dfe-ed48-4e74-a40f-4f7b034c1c27" providerId="ADAL" clId="{FCCE55FE-14A3-4665-9FBE-1E216319A24F}" dt="2021-01-28T09:01:47.358" v="156" actId="1035"/>
          <ac:cxnSpMkLst>
            <pc:docMk/>
            <pc:sldMk cId="3848357479" sldId="323"/>
            <ac:cxnSpMk id="20" creationId="{07FCC63F-5E2F-43DF-84ED-5FFEC92A0042}"/>
          </ac:cxnSpMkLst>
        </pc:cxnChg>
      </pc:sldChg>
      <pc:sldChg chg="addSp delSp modSp add ord">
        <pc:chgData name="Meyer Raphael (PAR-ES)" userId="79615dfe-ed48-4e74-a40f-4f7b034c1c27" providerId="ADAL" clId="{FCCE55FE-14A3-4665-9FBE-1E216319A24F}" dt="2021-01-28T09:05:33.171" v="346"/>
        <pc:sldMkLst>
          <pc:docMk/>
          <pc:sldMk cId="2334667298" sldId="324"/>
        </pc:sldMkLst>
        <pc:spChg chg="del">
          <ac:chgData name="Meyer Raphael (PAR-ES)" userId="79615dfe-ed48-4e74-a40f-4f7b034c1c27" providerId="ADAL" clId="{FCCE55FE-14A3-4665-9FBE-1E216319A24F}" dt="2021-01-28T09:02:37.941" v="158" actId="478"/>
          <ac:spMkLst>
            <pc:docMk/>
            <pc:sldMk cId="2334667298" sldId="324"/>
            <ac:spMk id="2" creationId="{A2DC317F-F1F4-4624-8FC1-3B68C1DBB3DA}"/>
          </ac:spMkLst>
        </pc:spChg>
        <pc:spChg chg="add del mod">
          <ac:chgData name="Meyer Raphael (PAR-ES)" userId="79615dfe-ed48-4e74-a40f-4f7b034c1c27" providerId="ADAL" clId="{FCCE55FE-14A3-4665-9FBE-1E216319A24F}" dt="2021-01-28T09:03:14.803" v="162" actId="478"/>
          <ac:spMkLst>
            <pc:docMk/>
            <pc:sldMk cId="2334667298" sldId="324"/>
            <ac:spMk id="6" creationId="{6B391366-7911-4AAE-BBA8-ABC5F881FB27}"/>
          </ac:spMkLst>
        </pc:spChg>
        <pc:spChg chg="del">
          <ac:chgData name="Meyer Raphael (PAR-ES)" userId="79615dfe-ed48-4e74-a40f-4f7b034c1c27" providerId="ADAL" clId="{FCCE55FE-14A3-4665-9FBE-1E216319A24F}" dt="2021-01-28T09:02:37.941" v="158" actId="478"/>
          <ac:spMkLst>
            <pc:docMk/>
            <pc:sldMk cId="2334667298" sldId="324"/>
            <ac:spMk id="7" creationId="{BA3F9A72-0541-4D1F-8CD8-1C2B8074FA1B}"/>
          </ac:spMkLst>
        </pc:spChg>
        <pc:spChg chg="mod">
          <ac:chgData name="Meyer Raphael (PAR-ES)" userId="79615dfe-ed48-4e74-a40f-4f7b034c1c27" providerId="ADAL" clId="{FCCE55FE-14A3-4665-9FBE-1E216319A24F}" dt="2021-01-28T09:03:40.767" v="260" actId="1036"/>
          <ac:spMkLst>
            <pc:docMk/>
            <pc:sldMk cId="2334667298" sldId="324"/>
            <ac:spMk id="8" creationId="{5857C2A1-2CB8-4D4A-AEFD-E809BF73D04F}"/>
          </ac:spMkLst>
        </pc:spChg>
        <pc:spChg chg="del">
          <ac:chgData name="Meyer Raphael (PAR-ES)" userId="79615dfe-ed48-4e74-a40f-4f7b034c1c27" providerId="ADAL" clId="{FCCE55FE-14A3-4665-9FBE-1E216319A24F}" dt="2021-01-28T09:02:37.941" v="158" actId="478"/>
          <ac:spMkLst>
            <pc:docMk/>
            <pc:sldMk cId="2334667298" sldId="324"/>
            <ac:spMk id="9" creationId="{B6990B61-32B2-4ADC-BF01-EDF7B4080F97}"/>
          </ac:spMkLst>
        </pc:spChg>
        <pc:spChg chg="del">
          <ac:chgData name="Meyer Raphael (PAR-ES)" userId="79615dfe-ed48-4e74-a40f-4f7b034c1c27" providerId="ADAL" clId="{FCCE55FE-14A3-4665-9FBE-1E216319A24F}" dt="2021-01-28T09:02:37.941" v="158" actId="478"/>
          <ac:spMkLst>
            <pc:docMk/>
            <pc:sldMk cId="2334667298" sldId="324"/>
            <ac:spMk id="10" creationId="{077DFD58-E5EE-4B68-9325-D935DB04DD40}"/>
          </ac:spMkLst>
        </pc:spChg>
        <pc:spChg chg="del">
          <ac:chgData name="Meyer Raphael (PAR-ES)" userId="79615dfe-ed48-4e74-a40f-4f7b034c1c27" providerId="ADAL" clId="{FCCE55FE-14A3-4665-9FBE-1E216319A24F}" dt="2021-01-28T09:02:37.941" v="158" actId="478"/>
          <ac:spMkLst>
            <pc:docMk/>
            <pc:sldMk cId="2334667298" sldId="324"/>
            <ac:spMk id="17" creationId="{785E740C-F94A-4208-8DFD-63A603C16577}"/>
          </ac:spMkLst>
        </pc:spChg>
        <pc:spChg chg="del">
          <ac:chgData name="Meyer Raphael (PAR-ES)" userId="79615dfe-ed48-4e74-a40f-4f7b034c1c27" providerId="ADAL" clId="{FCCE55FE-14A3-4665-9FBE-1E216319A24F}" dt="2021-01-28T09:02:37.941" v="158" actId="478"/>
          <ac:spMkLst>
            <pc:docMk/>
            <pc:sldMk cId="2334667298" sldId="324"/>
            <ac:spMk id="26" creationId="{BFD498B5-D73E-4C8A-9FAF-B3547647538C}"/>
          </ac:spMkLst>
        </pc:spChg>
        <pc:spChg chg="mod">
          <ac:chgData name="Meyer Raphael (PAR-ES)" userId="79615dfe-ed48-4e74-a40f-4f7b034c1c27" providerId="ADAL" clId="{FCCE55FE-14A3-4665-9FBE-1E216319A24F}" dt="2021-01-28T09:04:05.953" v="262" actId="14100"/>
          <ac:spMkLst>
            <pc:docMk/>
            <pc:sldMk cId="2334667298" sldId="324"/>
            <ac:spMk id="27" creationId="{46A6B042-39EE-4A58-BBAA-13D52264B660}"/>
          </ac:spMkLst>
        </pc:spChg>
        <pc:spChg chg="del">
          <ac:chgData name="Meyer Raphael (PAR-ES)" userId="79615dfe-ed48-4e74-a40f-4f7b034c1c27" providerId="ADAL" clId="{FCCE55FE-14A3-4665-9FBE-1E216319A24F}" dt="2021-01-28T09:05:24.971" v="345" actId="478"/>
          <ac:spMkLst>
            <pc:docMk/>
            <pc:sldMk cId="2334667298" sldId="324"/>
            <ac:spMk id="33" creationId="{1263211D-7647-4ACE-B729-2338DF0FFB67}"/>
          </ac:spMkLst>
        </pc:spChg>
        <pc:spChg chg="add mod">
          <ac:chgData name="Meyer Raphael (PAR-ES)" userId="79615dfe-ed48-4e74-a40f-4f7b034c1c27" providerId="ADAL" clId="{FCCE55FE-14A3-4665-9FBE-1E216319A24F}" dt="2021-01-28T09:03:05.472" v="161" actId="1076"/>
          <ac:spMkLst>
            <pc:docMk/>
            <pc:sldMk cId="2334667298" sldId="324"/>
            <ac:spMk id="36" creationId="{950DB72D-9690-4F18-9D02-139206AB86C6}"/>
          </ac:spMkLst>
        </pc:spChg>
        <pc:spChg chg="del">
          <ac:chgData name="Meyer Raphael (PAR-ES)" userId="79615dfe-ed48-4e74-a40f-4f7b034c1c27" providerId="ADAL" clId="{FCCE55FE-14A3-4665-9FBE-1E216319A24F}" dt="2021-01-28T09:05:24.971" v="345" actId="478"/>
          <ac:spMkLst>
            <pc:docMk/>
            <pc:sldMk cId="2334667298" sldId="324"/>
            <ac:spMk id="37" creationId="{16628D91-C37D-41C8-A84A-DDEB3E2C1246}"/>
          </ac:spMkLst>
        </pc:spChg>
        <pc:spChg chg="add">
          <ac:chgData name="Meyer Raphael (PAR-ES)" userId="79615dfe-ed48-4e74-a40f-4f7b034c1c27" providerId="ADAL" clId="{FCCE55FE-14A3-4665-9FBE-1E216319A24F}" dt="2021-01-28T09:02:54.724" v="159"/>
          <ac:spMkLst>
            <pc:docMk/>
            <pc:sldMk cId="2334667298" sldId="324"/>
            <ac:spMk id="38" creationId="{35F43C1E-6492-479A-A9E7-DF1579655FFF}"/>
          </ac:spMkLst>
        </pc:spChg>
        <pc:spChg chg="add">
          <ac:chgData name="Meyer Raphael (PAR-ES)" userId="79615dfe-ed48-4e74-a40f-4f7b034c1c27" providerId="ADAL" clId="{FCCE55FE-14A3-4665-9FBE-1E216319A24F}" dt="2021-01-28T09:02:54.724" v="159"/>
          <ac:spMkLst>
            <pc:docMk/>
            <pc:sldMk cId="2334667298" sldId="324"/>
            <ac:spMk id="39" creationId="{9978E878-0C04-4574-A52F-5CCE14AEBD59}"/>
          </ac:spMkLst>
        </pc:spChg>
        <pc:spChg chg="add">
          <ac:chgData name="Meyer Raphael (PAR-ES)" userId="79615dfe-ed48-4e74-a40f-4f7b034c1c27" providerId="ADAL" clId="{FCCE55FE-14A3-4665-9FBE-1E216319A24F}" dt="2021-01-28T09:02:54.724" v="159"/>
          <ac:spMkLst>
            <pc:docMk/>
            <pc:sldMk cId="2334667298" sldId="324"/>
            <ac:spMk id="40" creationId="{8EEF5790-079B-40AF-B68B-2A4EFADE916A}"/>
          </ac:spMkLst>
        </pc:spChg>
        <pc:spChg chg="add">
          <ac:chgData name="Meyer Raphael (PAR-ES)" userId="79615dfe-ed48-4e74-a40f-4f7b034c1c27" providerId="ADAL" clId="{FCCE55FE-14A3-4665-9FBE-1E216319A24F}" dt="2021-01-28T09:02:54.724" v="159"/>
          <ac:spMkLst>
            <pc:docMk/>
            <pc:sldMk cId="2334667298" sldId="324"/>
            <ac:spMk id="41" creationId="{A42EC389-4898-4B1D-9014-2539AD5F743A}"/>
          </ac:spMkLst>
        </pc:spChg>
        <pc:spChg chg="add">
          <ac:chgData name="Meyer Raphael (PAR-ES)" userId="79615dfe-ed48-4e74-a40f-4f7b034c1c27" providerId="ADAL" clId="{FCCE55FE-14A3-4665-9FBE-1E216319A24F}" dt="2021-01-28T09:02:54.724" v="159"/>
          <ac:spMkLst>
            <pc:docMk/>
            <pc:sldMk cId="2334667298" sldId="324"/>
            <ac:spMk id="42" creationId="{FFBE3577-E016-4C76-B39F-F955282882DB}"/>
          </ac:spMkLst>
        </pc:spChg>
        <pc:spChg chg="add">
          <ac:chgData name="Meyer Raphael (PAR-ES)" userId="79615dfe-ed48-4e74-a40f-4f7b034c1c27" providerId="ADAL" clId="{FCCE55FE-14A3-4665-9FBE-1E216319A24F}" dt="2021-01-28T09:05:33.171" v="346"/>
          <ac:spMkLst>
            <pc:docMk/>
            <pc:sldMk cId="2334667298" sldId="324"/>
            <ac:spMk id="43" creationId="{BAFC0A69-8B7C-4265-A3B1-7A731AF525E9}"/>
          </ac:spMkLst>
        </pc:spChg>
        <pc:spChg chg="add">
          <ac:chgData name="Meyer Raphael (PAR-ES)" userId="79615dfe-ed48-4e74-a40f-4f7b034c1c27" providerId="ADAL" clId="{FCCE55FE-14A3-4665-9FBE-1E216319A24F}" dt="2021-01-28T09:05:33.171" v="346"/>
          <ac:spMkLst>
            <pc:docMk/>
            <pc:sldMk cId="2334667298" sldId="324"/>
            <ac:spMk id="44" creationId="{973ED86E-5911-4952-AD22-BE24588B6438}"/>
          </ac:spMkLst>
        </pc:spChg>
        <pc:cxnChg chg="mod">
          <ac:chgData name="Meyer Raphael (PAR-ES)" userId="79615dfe-ed48-4e74-a40f-4f7b034c1c27" providerId="ADAL" clId="{FCCE55FE-14A3-4665-9FBE-1E216319A24F}" dt="2021-01-28T09:03:40.767" v="260" actId="1036"/>
          <ac:cxnSpMkLst>
            <pc:docMk/>
            <pc:sldMk cId="2334667298" sldId="324"/>
            <ac:cxnSpMk id="20" creationId="{07FCC63F-5E2F-43DF-84ED-5FFEC92A0042}"/>
          </ac:cxnSpMkLst>
        </pc:cxnChg>
      </pc:sldChg>
    </pc:docChg>
  </pc:docChgLst>
  <pc:docChgLst>
    <pc:chgData name="Meyer Raphael (PAR-ES)" userId="79615dfe-ed48-4e74-a40f-4f7b034c1c27" providerId="ADAL" clId="{8E3065C6-688C-4D24-91D1-E651705B75CE}"/>
    <pc:docChg chg="custSel addSld delSld modSld sldOrd">
      <pc:chgData name="Meyer Raphael (PAR-ES)" userId="79615dfe-ed48-4e74-a40f-4f7b034c1c27" providerId="ADAL" clId="{8E3065C6-688C-4D24-91D1-E651705B75CE}" dt="2021-03-18T08:06:31.939" v="95" actId="2696"/>
      <pc:docMkLst>
        <pc:docMk/>
      </pc:docMkLst>
      <pc:sldChg chg="modSp mod">
        <pc:chgData name="Meyer Raphael (PAR-ES)" userId="79615dfe-ed48-4e74-a40f-4f7b034c1c27" providerId="ADAL" clId="{8E3065C6-688C-4D24-91D1-E651705B75CE}" dt="2021-03-18T07:57:28.778" v="70" actId="1076"/>
        <pc:sldMkLst>
          <pc:docMk/>
          <pc:sldMk cId="1667945532" sldId="306"/>
        </pc:sldMkLst>
        <pc:spChg chg="mod">
          <ac:chgData name="Meyer Raphael (PAR-ES)" userId="79615dfe-ed48-4e74-a40f-4f7b034c1c27" providerId="ADAL" clId="{8E3065C6-688C-4D24-91D1-E651705B75CE}" dt="2021-03-18T07:51:20.087" v="2" actId="20577"/>
          <ac:spMkLst>
            <pc:docMk/>
            <pc:sldMk cId="1667945532" sldId="306"/>
            <ac:spMk id="8" creationId="{5857C2A1-2CB8-4D4A-AEFD-E809BF73D04F}"/>
          </ac:spMkLst>
        </pc:spChg>
        <pc:spChg chg="mod">
          <ac:chgData name="Meyer Raphael (PAR-ES)" userId="79615dfe-ed48-4e74-a40f-4f7b034c1c27" providerId="ADAL" clId="{8E3065C6-688C-4D24-91D1-E651705B75CE}" dt="2021-03-18T07:51:50.182" v="19" actId="20577"/>
          <ac:spMkLst>
            <pc:docMk/>
            <pc:sldMk cId="1667945532" sldId="306"/>
            <ac:spMk id="27" creationId="{46A6B042-39EE-4A58-BBAA-13D52264B660}"/>
          </ac:spMkLst>
        </pc:spChg>
        <pc:spChg chg="mod">
          <ac:chgData name="Meyer Raphael (PAR-ES)" userId="79615dfe-ed48-4e74-a40f-4f7b034c1c27" providerId="ADAL" clId="{8E3065C6-688C-4D24-91D1-E651705B75CE}" dt="2021-03-18T07:57:28.778" v="70" actId="1076"/>
          <ac:spMkLst>
            <pc:docMk/>
            <pc:sldMk cId="1667945532" sldId="306"/>
            <ac:spMk id="28" creationId="{4492A3CD-6943-423D-BFEC-8129889E8B6F}"/>
          </ac:spMkLst>
        </pc:spChg>
        <pc:spChg chg="mod">
          <ac:chgData name="Meyer Raphael (PAR-ES)" userId="79615dfe-ed48-4e74-a40f-4f7b034c1c27" providerId="ADAL" clId="{8E3065C6-688C-4D24-91D1-E651705B75CE}" dt="2021-03-18T07:52:08.936" v="27" actId="20577"/>
          <ac:spMkLst>
            <pc:docMk/>
            <pc:sldMk cId="1667945532" sldId="306"/>
            <ac:spMk id="31" creationId="{7491A47D-CAD4-478D-8F3A-296FFCB799F9}"/>
          </ac:spMkLst>
        </pc:spChg>
        <pc:spChg chg="mod">
          <ac:chgData name="Meyer Raphael (PAR-ES)" userId="79615dfe-ed48-4e74-a40f-4f7b034c1c27" providerId="ADAL" clId="{8E3065C6-688C-4D24-91D1-E651705B75CE}" dt="2021-03-18T07:54:36.827" v="47" actId="1076"/>
          <ac:spMkLst>
            <pc:docMk/>
            <pc:sldMk cId="1667945532" sldId="306"/>
            <ac:spMk id="32" creationId="{E65DDA4F-7190-4D5B-B875-6818D18C9F6E}"/>
          </ac:spMkLst>
        </pc:spChg>
        <pc:graphicFrameChg chg="mod">
          <ac:chgData name="Meyer Raphael (PAR-ES)" userId="79615dfe-ed48-4e74-a40f-4f7b034c1c27" providerId="ADAL" clId="{8E3065C6-688C-4D24-91D1-E651705B75CE}" dt="2021-03-18T07:54:30.843" v="46"/>
          <ac:graphicFrameMkLst>
            <pc:docMk/>
            <pc:sldMk cId="1667945532" sldId="306"/>
            <ac:graphicFrameMk id="5" creationId="{4CF6AB8B-CAB9-4C7E-8E59-E00357A4D7F0}"/>
          </ac:graphicFrameMkLst>
        </pc:graphicFrameChg>
        <pc:cxnChg chg="mod">
          <ac:chgData name="Meyer Raphael (PAR-ES)" userId="79615dfe-ed48-4e74-a40f-4f7b034c1c27" providerId="ADAL" clId="{8E3065C6-688C-4D24-91D1-E651705B75CE}" dt="2021-03-18T07:54:41.307" v="48" actId="1038"/>
          <ac:cxnSpMkLst>
            <pc:docMk/>
            <pc:sldMk cId="1667945532" sldId="306"/>
            <ac:cxnSpMk id="29" creationId="{FD3E902F-283F-48FC-9504-FF2FF4EA4BF0}"/>
          </ac:cxnSpMkLst>
        </pc:cxnChg>
        <pc:cxnChg chg="mod">
          <ac:chgData name="Meyer Raphael (PAR-ES)" userId="79615dfe-ed48-4e74-a40f-4f7b034c1c27" providerId="ADAL" clId="{8E3065C6-688C-4D24-91D1-E651705B75CE}" dt="2021-03-18T07:57:07.614" v="67" actId="14100"/>
          <ac:cxnSpMkLst>
            <pc:docMk/>
            <pc:sldMk cId="1667945532" sldId="306"/>
            <ac:cxnSpMk id="30" creationId="{1D702FCA-793F-404B-84D5-F14C318BFFB3}"/>
          </ac:cxnSpMkLst>
        </pc:cxnChg>
      </pc:sldChg>
      <pc:sldChg chg="del">
        <pc:chgData name="Meyer Raphael (PAR-ES)" userId="79615dfe-ed48-4e74-a40f-4f7b034c1c27" providerId="ADAL" clId="{8E3065C6-688C-4D24-91D1-E651705B75CE}" dt="2021-03-18T08:04:43.037" v="82" actId="2696"/>
        <pc:sldMkLst>
          <pc:docMk/>
          <pc:sldMk cId="3843819818" sldId="336"/>
        </pc:sldMkLst>
      </pc:sldChg>
      <pc:sldChg chg="del">
        <pc:chgData name="Meyer Raphael (PAR-ES)" userId="79615dfe-ed48-4e74-a40f-4f7b034c1c27" providerId="ADAL" clId="{8E3065C6-688C-4D24-91D1-E651705B75CE}" dt="2021-03-18T08:06:31.939" v="95" actId="2696"/>
        <pc:sldMkLst>
          <pc:docMk/>
          <pc:sldMk cId="912098357" sldId="337"/>
        </pc:sldMkLst>
      </pc:sldChg>
      <pc:sldChg chg="addSp delSp modSp add ord">
        <pc:chgData name="Meyer Raphael (PAR-ES)" userId="79615dfe-ed48-4e74-a40f-4f7b034c1c27" providerId="ADAL" clId="{8E3065C6-688C-4D24-91D1-E651705B75CE}" dt="2021-03-18T08:04:20.982" v="81"/>
        <pc:sldMkLst>
          <pc:docMk/>
          <pc:sldMk cId="1452322066" sldId="338"/>
        </pc:sldMkLst>
        <pc:spChg chg="mod">
          <ac:chgData name="Meyer Raphael (PAR-ES)" userId="79615dfe-ed48-4e74-a40f-4f7b034c1c27" providerId="ADAL" clId="{8E3065C6-688C-4D24-91D1-E651705B75CE}" dt="2021-03-18T08:03:52.400" v="77"/>
          <ac:spMkLst>
            <pc:docMk/>
            <pc:sldMk cId="1452322066" sldId="338"/>
            <ac:spMk id="2" creationId="{A2DC317F-F1F4-4624-8FC1-3B68C1DBB3DA}"/>
          </ac:spMkLst>
        </pc:spChg>
        <pc:spChg chg="del">
          <ac:chgData name="Meyer Raphael (PAR-ES)" userId="79615dfe-ed48-4e74-a40f-4f7b034c1c27" providerId="ADAL" clId="{8E3065C6-688C-4D24-91D1-E651705B75CE}" dt="2021-03-18T08:03:27.666" v="75" actId="478"/>
          <ac:spMkLst>
            <pc:docMk/>
            <pc:sldMk cId="1452322066" sldId="338"/>
            <ac:spMk id="7" creationId="{BA3F9A72-0541-4D1F-8CD8-1C2B8074FA1B}"/>
          </ac:spMkLst>
        </pc:spChg>
        <pc:spChg chg="mod">
          <ac:chgData name="Meyer Raphael (PAR-ES)" userId="79615dfe-ed48-4e74-a40f-4f7b034c1c27" providerId="ADAL" clId="{8E3065C6-688C-4D24-91D1-E651705B75CE}" dt="2021-03-18T08:04:08.236" v="80" actId="14100"/>
          <ac:spMkLst>
            <pc:docMk/>
            <pc:sldMk cId="1452322066" sldId="338"/>
            <ac:spMk id="8" creationId="{5857C2A1-2CB8-4D4A-AEFD-E809BF73D04F}"/>
          </ac:spMkLst>
        </pc:spChg>
        <pc:spChg chg="del">
          <ac:chgData name="Meyer Raphael (PAR-ES)" userId="79615dfe-ed48-4e74-a40f-4f7b034c1c27" providerId="ADAL" clId="{8E3065C6-688C-4D24-91D1-E651705B75CE}" dt="2021-03-18T08:03:27.666" v="75" actId="478"/>
          <ac:spMkLst>
            <pc:docMk/>
            <pc:sldMk cId="1452322066" sldId="338"/>
            <ac:spMk id="9" creationId="{B6990B61-32B2-4ADC-BF01-EDF7B4080F97}"/>
          </ac:spMkLst>
        </pc:spChg>
        <pc:spChg chg="mod">
          <ac:chgData name="Meyer Raphael (PAR-ES)" userId="79615dfe-ed48-4e74-a40f-4f7b034c1c27" providerId="ADAL" clId="{8E3065C6-688C-4D24-91D1-E651705B75CE}" dt="2021-03-18T08:04:00.224" v="78"/>
          <ac:spMkLst>
            <pc:docMk/>
            <pc:sldMk cId="1452322066" sldId="338"/>
            <ac:spMk id="10" creationId="{077DFD58-E5EE-4B68-9325-D935DB04DD40}"/>
          </ac:spMkLst>
        </pc:spChg>
        <pc:spChg chg="del">
          <ac:chgData name="Meyer Raphael (PAR-ES)" userId="79615dfe-ed48-4e74-a40f-4f7b034c1c27" providerId="ADAL" clId="{8E3065C6-688C-4D24-91D1-E651705B75CE}" dt="2021-03-18T08:03:27.666" v="75" actId="478"/>
          <ac:spMkLst>
            <pc:docMk/>
            <pc:sldMk cId="1452322066" sldId="338"/>
            <ac:spMk id="17" creationId="{785E740C-F94A-4208-8DFD-63A603C16577}"/>
          </ac:spMkLst>
        </pc:spChg>
        <pc:spChg chg="add">
          <ac:chgData name="Meyer Raphael (PAR-ES)" userId="79615dfe-ed48-4e74-a40f-4f7b034c1c27" providerId="ADAL" clId="{8E3065C6-688C-4D24-91D1-E651705B75CE}" dt="2021-03-18T08:03:39.063" v="76"/>
          <ac:spMkLst>
            <pc:docMk/>
            <pc:sldMk cId="1452322066" sldId="338"/>
            <ac:spMk id="23" creationId="{FB04E3DC-7438-4463-B235-8E2A0AF38BE6}"/>
          </ac:spMkLst>
        </pc:spChg>
        <pc:spChg chg="del">
          <ac:chgData name="Meyer Raphael (PAR-ES)" userId="79615dfe-ed48-4e74-a40f-4f7b034c1c27" providerId="ADAL" clId="{8E3065C6-688C-4D24-91D1-E651705B75CE}" dt="2021-03-18T08:03:27.666" v="75" actId="478"/>
          <ac:spMkLst>
            <pc:docMk/>
            <pc:sldMk cId="1452322066" sldId="338"/>
            <ac:spMk id="26" creationId="{BFD498B5-D73E-4C8A-9FAF-B3547647538C}"/>
          </ac:spMkLst>
        </pc:spChg>
        <pc:spChg chg="mod">
          <ac:chgData name="Meyer Raphael (PAR-ES)" userId="79615dfe-ed48-4e74-a40f-4f7b034c1c27" providerId="ADAL" clId="{8E3065C6-688C-4D24-91D1-E651705B75CE}" dt="2021-03-18T08:04:20.982" v="81"/>
          <ac:spMkLst>
            <pc:docMk/>
            <pc:sldMk cId="1452322066" sldId="338"/>
            <ac:spMk id="27" creationId="{46A6B042-39EE-4A58-BBAA-13D52264B660}"/>
          </ac:spMkLst>
        </pc:spChg>
        <pc:spChg chg="add">
          <ac:chgData name="Meyer Raphael (PAR-ES)" userId="79615dfe-ed48-4e74-a40f-4f7b034c1c27" providerId="ADAL" clId="{8E3065C6-688C-4D24-91D1-E651705B75CE}" dt="2021-03-18T08:03:39.063" v="76"/>
          <ac:spMkLst>
            <pc:docMk/>
            <pc:sldMk cId="1452322066" sldId="338"/>
            <ac:spMk id="33" creationId="{4FB5518D-9657-460B-9C93-BA69794FB1D8}"/>
          </ac:spMkLst>
        </pc:spChg>
        <pc:spChg chg="add">
          <ac:chgData name="Meyer Raphael (PAR-ES)" userId="79615dfe-ed48-4e74-a40f-4f7b034c1c27" providerId="ADAL" clId="{8E3065C6-688C-4D24-91D1-E651705B75CE}" dt="2021-03-18T08:03:39.063" v="76"/>
          <ac:spMkLst>
            <pc:docMk/>
            <pc:sldMk cId="1452322066" sldId="338"/>
            <ac:spMk id="36" creationId="{4E7A10F7-ADD0-4192-BDEE-2910EBDC9EC7}"/>
          </ac:spMkLst>
        </pc:spChg>
        <pc:spChg chg="add">
          <ac:chgData name="Meyer Raphael (PAR-ES)" userId="79615dfe-ed48-4e74-a40f-4f7b034c1c27" providerId="ADAL" clId="{8E3065C6-688C-4D24-91D1-E651705B75CE}" dt="2021-03-18T08:03:39.063" v="76"/>
          <ac:spMkLst>
            <pc:docMk/>
            <pc:sldMk cId="1452322066" sldId="338"/>
            <ac:spMk id="37" creationId="{DCF5F9E4-69A8-4972-8D55-015B468ACB00}"/>
          </ac:spMkLst>
        </pc:spChg>
      </pc:sldChg>
      <pc:sldChg chg="addSp delSp modSp add ord">
        <pc:chgData name="Meyer Raphael (PAR-ES)" userId="79615dfe-ed48-4e74-a40f-4f7b034c1c27" providerId="ADAL" clId="{8E3065C6-688C-4D24-91D1-E651705B75CE}" dt="2021-03-18T08:06:22.212" v="94" actId="14100"/>
        <pc:sldMkLst>
          <pc:docMk/>
          <pc:sldMk cId="4038211066" sldId="339"/>
        </pc:sldMkLst>
        <pc:spChg chg="mod">
          <ac:chgData name="Meyer Raphael (PAR-ES)" userId="79615dfe-ed48-4e74-a40f-4f7b034c1c27" providerId="ADAL" clId="{8E3065C6-688C-4D24-91D1-E651705B75CE}" dt="2021-03-18T08:05:57.263" v="91"/>
          <ac:spMkLst>
            <pc:docMk/>
            <pc:sldMk cId="4038211066" sldId="339"/>
            <ac:spMk id="2" creationId="{A2DC317F-F1F4-4624-8FC1-3B68C1DBB3DA}"/>
          </ac:spMkLst>
        </pc:spChg>
        <pc:spChg chg="del">
          <ac:chgData name="Meyer Raphael (PAR-ES)" userId="79615dfe-ed48-4e74-a40f-4f7b034c1c27" providerId="ADAL" clId="{8E3065C6-688C-4D24-91D1-E651705B75CE}" dt="2021-03-18T08:05:09.058" v="83" actId="478"/>
          <ac:spMkLst>
            <pc:docMk/>
            <pc:sldMk cId="4038211066" sldId="339"/>
            <ac:spMk id="7" creationId="{BA3F9A72-0541-4D1F-8CD8-1C2B8074FA1B}"/>
          </ac:spMkLst>
        </pc:spChg>
        <pc:spChg chg="mod">
          <ac:chgData name="Meyer Raphael (PAR-ES)" userId="79615dfe-ed48-4e74-a40f-4f7b034c1c27" providerId="ADAL" clId="{8E3065C6-688C-4D24-91D1-E651705B75CE}" dt="2021-03-18T08:05:50.241" v="90" actId="1037"/>
          <ac:spMkLst>
            <pc:docMk/>
            <pc:sldMk cId="4038211066" sldId="339"/>
            <ac:spMk id="8" creationId="{5857C2A1-2CB8-4D4A-AEFD-E809BF73D04F}"/>
          </ac:spMkLst>
        </pc:spChg>
        <pc:spChg chg="del">
          <ac:chgData name="Meyer Raphael (PAR-ES)" userId="79615dfe-ed48-4e74-a40f-4f7b034c1c27" providerId="ADAL" clId="{8E3065C6-688C-4D24-91D1-E651705B75CE}" dt="2021-03-18T08:05:09.058" v="83" actId="478"/>
          <ac:spMkLst>
            <pc:docMk/>
            <pc:sldMk cId="4038211066" sldId="339"/>
            <ac:spMk id="9" creationId="{B6990B61-32B2-4ADC-BF01-EDF7B4080F97}"/>
          </ac:spMkLst>
        </pc:spChg>
        <pc:spChg chg="mod">
          <ac:chgData name="Meyer Raphael (PAR-ES)" userId="79615dfe-ed48-4e74-a40f-4f7b034c1c27" providerId="ADAL" clId="{8E3065C6-688C-4D24-91D1-E651705B75CE}" dt="2021-03-18T08:06:07.535" v="92"/>
          <ac:spMkLst>
            <pc:docMk/>
            <pc:sldMk cId="4038211066" sldId="339"/>
            <ac:spMk id="10" creationId="{077DFD58-E5EE-4B68-9325-D935DB04DD40}"/>
          </ac:spMkLst>
        </pc:spChg>
        <pc:spChg chg="del">
          <ac:chgData name="Meyer Raphael (PAR-ES)" userId="79615dfe-ed48-4e74-a40f-4f7b034c1c27" providerId="ADAL" clId="{8E3065C6-688C-4D24-91D1-E651705B75CE}" dt="2021-03-18T08:05:09.058" v="83" actId="478"/>
          <ac:spMkLst>
            <pc:docMk/>
            <pc:sldMk cId="4038211066" sldId="339"/>
            <ac:spMk id="17" creationId="{785E740C-F94A-4208-8DFD-63A603C16577}"/>
          </ac:spMkLst>
        </pc:spChg>
        <pc:spChg chg="add">
          <ac:chgData name="Meyer Raphael (PAR-ES)" userId="79615dfe-ed48-4e74-a40f-4f7b034c1c27" providerId="ADAL" clId="{8E3065C6-688C-4D24-91D1-E651705B75CE}" dt="2021-03-18T08:05:23.657" v="84"/>
          <ac:spMkLst>
            <pc:docMk/>
            <pc:sldMk cId="4038211066" sldId="339"/>
            <ac:spMk id="23" creationId="{F2F2A770-A200-47CC-92E3-0BA2AFF11A97}"/>
          </ac:spMkLst>
        </pc:spChg>
        <pc:spChg chg="del">
          <ac:chgData name="Meyer Raphael (PAR-ES)" userId="79615dfe-ed48-4e74-a40f-4f7b034c1c27" providerId="ADAL" clId="{8E3065C6-688C-4D24-91D1-E651705B75CE}" dt="2021-03-18T08:05:09.058" v="83" actId="478"/>
          <ac:spMkLst>
            <pc:docMk/>
            <pc:sldMk cId="4038211066" sldId="339"/>
            <ac:spMk id="26" creationId="{BFD498B5-D73E-4C8A-9FAF-B3547647538C}"/>
          </ac:spMkLst>
        </pc:spChg>
        <pc:spChg chg="mod">
          <ac:chgData name="Meyer Raphael (PAR-ES)" userId="79615dfe-ed48-4e74-a40f-4f7b034c1c27" providerId="ADAL" clId="{8E3065C6-688C-4D24-91D1-E651705B75CE}" dt="2021-03-18T08:06:22.212" v="94" actId="14100"/>
          <ac:spMkLst>
            <pc:docMk/>
            <pc:sldMk cId="4038211066" sldId="339"/>
            <ac:spMk id="27" creationId="{46A6B042-39EE-4A58-BBAA-13D52264B660}"/>
          </ac:spMkLst>
        </pc:spChg>
        <pc:spChg chg="add">
          <ac:chgData name="Meyer Raphael (PAR-ES)" userId="79615dfe-ed48-4e74-a40f-4f7b034c1c27" providerId="ADAL" clId="{8E3065C6-688C-4D24-91D1-E651705B75CE}" dt="2021-03-18T08:05:23.657" v="84"/>
          <ac:spMkLst>
            <pc:docMk/>
            <pc:sldMk cId="4038211066" sldId="339"/>
            <ac:spMk id="33" creationId="{9D5DBEF2-2A64-4C44-9C60-54A042D75AC5}"/>
          </ac:spMkLst>
        </pc:spChg>
        <pc:spChg chg="add">
          <ac:chgData name="Meyer Raphael (PAR-ES)" userId="79615dfe-ed48-4e74-a40f-4f7b034c1c27" providerId="ADAL" clId="{8E3065C6-688C-4D24-91D1-E651705B75CE}" dt="2021-03-18T08:05:23.657" v="84"/>
          <ac:spMkLst>
            <pc:docMk/>
            <pc:sldMk cId="4038211066" sldId="339"/>
            <ac:spMk id="36" creationId="{723E6BD9-9972-4E81-A4AE-CE14DD212830}"/>
          </ac:spMkLst>
        </pc:spChg>
        <pc:spChg chg="add">
          <ac:chgData name="Meyer Raphael (PAR-ES)" userId="79615dfe-ed48-4e74-a40f-4f7b034c1c27" providerId="ADAL" clId="{8E3065C6-688C-4D24-91D1-E651705B75CE}" dt="2021-03-18T08:05:23.657" v="84"/>
          <ac:spMkLst>
            <pc:docMk/>
            <pc:sldMk cId="4038211066" sldId="339"/>
            <ac:spMk id="37" creationId="{EC58DB2B-ADD7-4EA0-A871-C40C1066CACB}"/>
          </ac:spMkLst>
        </pc:spChg>
        <pc:spChg chg="add del">
          <ac:chgData name="Meyer Raphael (PAR-ES)" userId="79615dfe-ed48-4e74-a40f-4f7b034c1c27" providerId="ADAL" clId="{8E3065C6-688C-4D24-91D1-E651705B75CE}" dt="2021-03-18T08:05:35.513" v="86"/>
          <ac:spMkLst>
            <pc:docMk/>
            <pc:sldMk cId="4038211066" sldId="339"/>
            <ac:spMk id="38" creationId="{37C7CA09-8CF2-487D-832C-0DFEC74B6039}"/>
          </ac:spMkLst>
        </pc:spChg>
        <pc:spChg chg="add del">
          <ac:chgData name="Meyer Raphael (PAR-ES)" userId="79615dfe-ed48-4e74-a40f-4f7b034c1c27" providerId="ADAL" clId="{8E3065C6-688C-4D24-91D1-E651705B75CE}" dt="2021-03-18T08:05:35.513" v="86"/>
          <ac:spMkLst>
            <pc:docMk/>
            <pc:sldMk cId="4038211066" sldId="339"/>
            <ac:spMk id="39" creationId="{43E8029D-D8B8-4F0A-82B5-B8FECDEEC35A}"/>
          </ac:spMkLst>
        </pc:spChg>
        <pc:spChg chg="add del">
          <ac:chgData name="Meyer Raphael (PAR-ES)" userId="79615dfe-ed48-4e74-a40f-4f7b034c1c27" providerId="ADAL" clId="{8E3065C6-688C-4D24-91D1-E651705B75CE}" dt="2021-03-18T08:05:35.513" v="86"/>
          <ac:spMkLst>
            <pc:docMk/>
            <pc:sldMk cId="4038211066" sldId="339"/>
            <ac:spMk id="40" creationId="{1555079F-8643-4274-9A97-9C5135FFEDDB}"/>
          </ac:spMkLst>
        </pc:spChg>
        <pc:spChg chg="add del">
          <ac:chgData name="Meyer Raphael (PAR-ES)" userId="79615dfe-ed48-4e74-a40f-4f7b034c1c27" providerId="ADAL" clId="{8E3065C6-688C-4D24-91D1-E651705B75CE}" dt="2021-03-18T08:05:35.513" v="86"/>
          <ac:spMkLst>
            <pc:docMk/>
            <pc:sldMk cId="4038211066" sldId="339"/>
            <ac:spMk id="41" creationId="{55920D09-756C-4CA5-8D5E-0BF180A5704A}"/>
          </ac:spMkLst>
        </pc:spChg>
      </pc:sldChg>
    </pc:docChg>
  </pc:docChgLst>
  <pc:docChgLst>
    <pc:chgData name="Weigel Stefan (PAR-EPS)" userId="fd3b2067-2981-4ad8-bf3a-d2e1004e4fa8" providerId="ADAL" clId="{E5AA26C4-281D-4E9C-A4CA-81FD6EA76972}"/>
    <pc:docChg chg="modSld">
      <pc:chgData name="Weigel Stefan (PAR-EPS)" userId="fd3b2067-2981-4ad8-bf3a-d2e1004e4fa8" providerId="ADAL" clId="{E5AA26C4-281D-4E9C-A4CA-81FD6EA76972}" dt="2024-04-26T06:53:51.684" v="138" actId="692"/>
      <pc:docMkLst>
        <pc:docMk/>
      </pc:docMkLst>
      <pc:sldChg chg="modSp mod">
        <pc:chgData name="Weigel Stefan (PAR-EPS)" userId="fd3b2067-2981-4ad8-bf3a-d2e1004e4fa8" providerId="ADAL" clId="{E5AA26C4-281D-4E9C-A4CA-81FD6EA76972}" dt="2024-04-26T06:53:51.684" v="138" actId="692"/>
        <pc:sldMkLst>
          <pc:docMk/>
          <pc:sldMk cId="3865012081" sldId="415"/>
        </pc:sldMkLst>
        <pc:spChg chg="mod">
          <ac:chgData name="Weigel Stefan (PAR-EPS)" userId="fd3b2067-2981-4ad8-bf3a-d2e1004e4fa8" providerId="ADAL" clId="{E5AA26C4-281D-4E9C-A4CA-81FD6EA76972}" dt="2024-04-26T06:42:45.806" v="135" actId="14100"/>
          <ac:spMkLst>
            <pc:docMk/>
            <pc:sldMk cId="3865012081" sldId="415"/>
            <ac:spMk id="11" creationId="{45495507-A500-4876-A7D7-039B7559AD0C}"/>
          </ac:spMkLst>
        </pc:spChg>
        <pc:spChg chg="mod">
          <ac:chgData name="Weigel Stefan (PAR-EPS)" userId="fd3b2067-2981-4ad8-bf3a-d2e1004e4fa8" providerId="ADAL" clId="{E5AA26C4-281D-4E9C-A4CA-81FD6EA76972}" dt="2024-04-26T06:38:19.007" v="117" actId="1037"/>
          <ac:spMkLst>
            <pc:docMk/>
            <pc:sldMk cId="3865012081" sldId="415"/>
            <ac:spMk id="12" creationId="{1A4657D7-3337-475E-8E67-E8F468A949AF}"/>
          </ac:spMkLst>
        </pc:spChg>
        <pc:graphicFrameChg chg="mod">
          <ac:chgData name="Weigel Stefan (PAR-EPS)" userId="fd3b2067-2981-4ad8-bf3a-d2e1004e4fa8" providerId="ADAL" clId="{E5AA26C4-281D-4E9C-A4CA-81FD6EA76972}" dt="2024-04-26T06:53:51.684" v="138" actId="692"/>
          <ac:graphicFrameMkLst>
            <pc:docMk/>
            <pc:sldMk cId="3865012081" sldId="415"/>
            <ac:graphicFrameMk id="9" creationId="{00000000-0000-0000-0000-000000000000}"/>
          </ac:graphicFrameMkLst>
        </pc:graphicFrameChg>
      </pc:sldChg>
    </pc:docChg>
  </pc:docChgLst>
  <pc:docChgLst>
    <pc:chgData name="Meyer Raphael (PAR-ES)" userId="79615dfe-ed48-4e74-a40f-4f7b034c1c27" providerId="ADAL" clId="{6CDCDDB2-0951-42F4-B0FE-8E3F9123A7D6}"/>
    <pc:docChg chg="modSld">
      <pc:chgData name="Meyer Raphael (PAR-ES)" userId="79615dfe-ed48-4e74-a40f-4f7b034c1c27" providerId="ADAL" clId="{6CDCDDB2-0951-42F4-B0FE-8E3F9123A7D6}" dt="2021-09-17T07:29:35.011" v="94" actId="1038"/>
      <pc:docMkLst>
        <pc:docMk/>
      </pc:docMkLst>
      <pc:sldChg chg="modSp mod">
        <pc:chgData name="Meyer Raphael (PAR-ES)" userId="79615dfe-ed48-4e74-a40f-4f7b034c1c27" providerId="ADAL" clId="{6CDCDDB2-0951-42F4-B0FE-8E3F9123A7D6}" dt="2021-09-17T07:29:05.678" v="70" actId="1037"/>
        <pc:sldMkLst>
          <pc:docMk/>
          <pc:sldMk cId="1495152177" sldId="298"/>
        </pc:sldMkLst>
        <pc:spChg chg="mod">
          <ac:chgData name="Meyer Raphael (PAR-ES)" userId="79615dfe-ed48-4e74-a40f-4f7b034c1c27" providerId="ADAL" clId="{6CDCDDB2-0951-42F4-B0FE-8E3F9123A7D6}" dt="2021-09-17T07:29:05.678" v="70" actId="1037"/>
          <ac:spMkLst>
            <pc:docMk/>
            <pc:sldMk cId="1495152177" sldId="298"/>
            <ac:spMk id="12" creationId="{970D2C07-63A2-4265-B006-56F685FE80A5}"/>
          </ac:spMkLst>
        </pc:spChg>
        <pc:spChg chg="mod">
          <ac:chgData name="Meyer Raphael (PAR-ES)" userId="79615dfe-ed48-4e74-a40f-4f7b034c1c27" providerId="ADAL" clId="{6CDCDDB2-0951-42F4-B0FE-8E3F9123A7D6}" dt="2021-09-17T07:29:05.678" v="70" actId="1037"/>
          <ac:spMkLst>
            <pc:docMk/>
            <pc:sldMk cId="1495152177" sldId="298"/>
            <ac:spMk id="13" creationId="{93412675-62AA-41D8-997C-4E877ED953A8}"/>
          </ac:spMkLst>
        </pc:spChg>
        <pc:graphicFrameChg chg="modGraphic">
          <ac:chgData name="Meyer Raphael (PAR-ES)" userId="79615dfe-ed48-4e74-a40f-4f7b034c1c27" providerId="ADAL" clId="{6CDCDDB2-0951-42F4-B0FE-8E3F9123A7D6}" dt="2021-09-17T07:17:54.326" v="19"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6CDCDDB2-0951-42F4-B0FE-8E3F9123A7D6}" dt="2021-09-17T07:29:05.678" v="70" actId="1037"/>
          <ac:cxnSpMkLst>
            <pc:docMk/>
            <pc:sldMk cId="1495152177" sldId="298"/>
            <ac:cxnSpMk id="8" creationId="{6F3EB9D3-E612-42D9-859B-1905BD876C26}"/>
          </ac:cxnSpMkLst>
        </pc:cxnChg>
      </pc:sldChg>
      <pc:sldChg chg="modSp mod">
        <pc:chgData name="Meyer Raphael (PAR-ES)" userId="79615dfe-ed48-4e74-a40f-4f7b034c1c27" providerId="ADAL" clId="{6CDCDDB2-0951-42F4-B0FE-8E3F9123A7D6}" dt="2021-09-17T07:29:13.037" v="79" actId="1037"/>
        <pc:sldMkLst>
          <pc:docMk/>
          <pc:sldMk cId="3590012689" sldId="365"/>
        </pc:sldMkLst>
        <pc:spChg chg="mod">
          <ac:chgData name="Meyer Raphael (PAR-ES)" userId="79615dfe-ed48-4e74-a40f-4f7b034c1c27" providerId="ADAL" clId="{6CDCDDB2-0951-42F4-B0FE-8E3F9123A7D6}" dt="2021-09-17T07:29:13.037" v="79" actId="1037"/>
          <ac:spMkLst>
            <pc:docMk/>
            <pc:sldMk cId="3590012689" sldId="365"/>
            <ac:spMk id="12" creationId="{970D2C07-63A2-4265-B006-56F685FE80A5}"/>
          </ac:spMkLst>
        </pc:spChg>
        <pc:spChg chg="mod">
          <ac:chgData name="Meyer Raphael (PAR-ES)" userId="79615dfe-ed48-4e74-a40f-4f7b034c1c27" providerId="ADAL" clId="{6CDCDDB2-0951-42F4-B0FE-8E3F9123A7D6}" dt="2021-09-17T07:29:13.037" v="79" actId="1037"/>
          <ac:spMkLst>
            <pc:docMk/>
            <pc:sldMk cId="3590012689" sldId="365"/>
            <ac:spMk id="13" creationId="{93412675-62AA-41D8-997C-4E877ED953A8}"/>
          </ac:spMkLst>
        </pc:spChg>
        <pc:graphicFrameChg chg="mod modGraphic">
          <ac:chgData name="Meyer Raphael (PAR-ES)" userId="79615dfe-ed48-4e74-a40f-4f7b034c1c27" providerId="ADAL" clId="{6CDCDDB2-0951-42F4-B0FE-8E3F9123A7D6}" dt="2021-09-17T07:18:10.185" v="20"/>
          <ac:graphicFrameMkLst>
            <pc:docMk/>
            <pc:sldMk cId="3590012689" sldId="365"/>
            <ac:graphicFrameMk id="9" creationId="{E1369C63-C4A7-403B-A03F-B004599F910A}"/>
          </ac:graphicFrameMkLst>
        </pc:graphicFrameChg>
        <pc:cxnChg chg="mod">
          <ac:chgData name="Meyer Raphael (PAR-ES)" userId="79615dfe-ed48-4e74-a40f-4f7b034c1c27" providerId="ADAL" clId="{6CDCDDB2-0951-42F4-B0FE-8E3F9123A7D6}" dt="2021-09-17T07:29:13.037" v="79" actId="1037"/>
          <ac:cxnSpMkLst>
            <pc:docMk/>
            <pc:sldMk cId="3590012689" sldId="365"/>
            <ac:cxnSpMk id="8" creationId="{6F3EB9D3-E612-42D9-859B-1905BD876C26}"/>
          </ac:cxnSpMkLst>
        </pc:cxnChg>
      </pc:sldChg>
      <pc:sldChg chg="modSp mod">
        <pc:chgData name="Meyer Raphael (PAR-ES)" userId="79615dfe-ed48-4e74-a40f-4f7b034c1c27" providerId="ADAL" clId="{6CDCDDB2-0951-42F4-B0FE-8E3F9123A7D6}" dt="2021-09-17T07:29:35.011" v="94" actId="1038"/>
        <pc:sldMkLst>
          <pc:docMk/>
          <pc:sldMk cId="689864941" sldId="366"/>
        </pc:sldMkLst>
        <pc:spChg chg="mod">
          <ac:chgData name="Meyer Raphael (PAR-ES)" userId="79615dfe-ed48-4e74-a40f-4f7b034c1c27" providerId="ADAL" clId="{6CDCDDB2-0951-42F4-B0FE-8E3F9123A7D6}" dt="2021-09-17T07:29:35.011" v="94" actId="1038"/>
          <ac:spMkLst>
            <pc:docMk/>
            <pc:sldMk cId="689864941" sldId="366"/>
            <ac:spMk id="12" creationId="{970D2C07-63A2-4265-B006-56F685FE80A5}"/>
          </ac:spMkLst>
        </pc:spChg>
        <pc:spChg chg="mod">
          <ac:chgData name="Meyer Raphael (PAR-ES)" userId="79615dfe-ed48-4e74-a40f-4f7b034c1c27" providerId="ADAL" clId="{6CDCDDB2-0951-42F4-B0FE-8E3F9123A7D6}" dt="2021-09-17T07:29:35.011" v="94" actId="1038"/>
          <ac:spMkLst>
            <pc:docMk/>
            <pc:sldMk cId="689864941" sldId="366"/>
            <ac:spMk id="13" creationId="{93412675-62AA-41D8-997C-4E877ED953A8}"/>
          </ac:spMkLst>
        </pc:spChg>
        <pc:graphicFrameChg chg="mod modGraphic">
          <ac:chgData name="Meyer Raphael (PAR-ES)" userId="79615dfe-ed48-4e74-a40f-4f7b034c1c27" providerId="ADAL" clId="{6CDCDDB2-0951-42F4-B0FE-8E3F9123A7D6}" dt="2021-09-17T07:18:17.860" v="21"/>
          <ac:graphicFrameMkLst>
            <pc:docMk/>
            <pc:sldMk cId="689864941" sldId="366"/>
            <ac:graphicFrameMk id="9" creationId="{E1369C63-C4A7-403B-A03F-B004599F910A}"/>
          </ac:graphicFrameMkLst>
        </pc:graphicFrameChg>
        <pc:cxnChg chg="mod">
          <ac:chgData name="Meyer Raphael (PAR-ES)" userId="79615dfe-ed48-4e74-a40f-4f7b034c1c27" providerId="ADAL" clId="{6CDCDDB2-0951-42F4-B0FE-8E3F9123A7D6}" dt="2021-09-17T07:29:35.011" v="94" actId="1038"/>
          <ac:cxnSpMkLst>
            <pc:docMk/>
            <pc:sldMk cId="689864941" sldId="366"/>
            <ac:cxnSpMk id="8" creationId="{6F3EB9D3-E612-42D9-859B-1905BD876C26}"/>
          </ac:cxnSpMkLst>
        </pc:cxnChg>
      </pc:sldChg>
    </pc:docChg>
  </pc:docChgLst>
  <pc:docChgLst>
    <pc:chgData name="Meyer Raphael (PAR-ES)" userId="79615dfe-ed48-4e74-a40f-4f7b034c1c27" providerId="ADAL" clId="{B105DCFF-B028-4B19-B633-C7AB10EE03B9}"/>
    <pc:docChg chg="modSld">
      <pc:chgData name="Meyer Raphael (PAR-ES)" userId="79615dfe-ed48-4e74-a40f-4f7b034c1c27" providerId="ADAL" clId="{B105DCFF-B028-4B19-B633-C7AB10EE03B9}" dt="2023-02-24T14:02:08.610" v="3" actId="27918"/>
      <pc:docMkLst>
        <pc:docMk/>
      </pc:docMkLst>
      <pc:sldChg chg="mod">
        <pc:chgData name="Meyer Raphael (PAR-ES)" userId="79615dfe-ed48-4e74-a40f-4f7b034c1c27" providerId="ADAL" clId="{B105DCFF-B028-4B19-B633-C7AB10EE03B9}" dt="2023-02-24T14:02:08.610" v="3" actId="27918"/>
        <pc:sldMkLst>
          <pc:docMk/>
          <pc:sldMk cId="3865012081" sldId="415"/>
        </pc:sldMkLst>
      </pc:sldChg>
    </pc:docChg>
  </pc:docChgLst>
  <pc:docChgLst>
    <pc:chgData name="Meyer Raphael (PAR-ES)" userId="79615dfe-ed48-4e74-a40f-4f7b034c1c27" providerId="ADAL" clId="{5611DD64-5737-4F54-88D1-692C9E97FDFD}"/>
    <pc:docChg chg="modSld">
      <pc:chgData name="Meyer Raphael (PAR-ES)" userId="79615dfe-ed48-4e74-a40f-4f7b034c1c27" providerId="ADAL" clId="{5611DD64-5737-4F54-88D1-692C9E97FDFD}" dt="2021-10-18T14:39:40.002" v="27" actId="207"/>
      <pc:docMkLst>
        <pc:docMk/>
      </pc:docMkLst>
      <pc:sldChg chg="modSp mod">
        <pc:chgData name="Meyer Raphael (PAR-ES)" userId="79615dfe-ed48-4e74-a40f-4f7b034c1c27" providerId="ADAL" clId="{5611DD64-5737-4F54-88D1-692C9E97FDFD}" dt="2021-10-18T14:39:40.002" v="27" actId="207"/>
        <pc:sldMkLst>
          <pc:docMk/>
          <pc:sldMk cId="1537997412" sldId="373"/>
        </pc:sldMkLst>
        <pc:spChg chg="mod">
          <ac:chgData name="Meyer Raphael (PAR-ES)" userId="79615dfe-ed48-4e74-a40f-4f7b034c1c27" providerId="ADAL" clId="{5611DD64-5737-4F54-88D1-692C9E97FDFD}" dt="2021-10-18T14:37:38.954" v="10" actId="20577"/>
          <ac:spMkLst>
            <pc:docMk/>
            <pc:sldMk cId="1537997412" sldId="373"/>
            <ac:spMk id="6" creationId="{8C570F95-0775-4F12-8DDA-DD52CE7241CC}"/>
          </ac:spMkLst>
        </pc:spChg>
        <pc:spChg chg="mod">
          <ac:chgData name="Meyer Raphael (PAR-ES)" userId="79615dfe-ed48-4e74-a40f-4f7b034c1c27" providerId="ADAL" clId="{5611DD64-5737-4F54-88D1-692C9E97FDFD}" dt="2021-10-18T14:37:49.704" v="14" actId="20577"/>
          <ac:spMkLst>
            <pc:docMk/>
            <pc:sldMk cId="1537997412" sldId="373"/>
            <ac:spMk id="22" creationId="{B3F5B9B8-EDA8-430F-83AA-59E4DAA4DCA3}"/>
          </ac:spMkLst>
        </pc:spChg>
        <pc:graphicFrameChg chg="mod">
          <ac:chgData name="Meyer Raphael (PAR-ES)" userId="79615dfe-ed48-4e74-a40f-4f7b034c1c27" providerId="ADAL" clId="{5611DD64-5737-4F54-88D1-692C9E97FDFD}" dt="2021-10-18T14:39:40.002" v="27" actId="207"/>
          <ac:graphicFrameMkLst>
            <pc:docMk/>
            <pc:sldMk cId="1537997412" sldId="373"/>
            <ac:graphicFrameMk id="10" creationId="{E856299E-9B60-478F-8674-1045505692C4}"/>
          </ac:graphicFrameMkLst>
        </pc:graphicFrameChg>
      </pc:sldChg>
    </pc:docChg>
  </pc:docChgLst>
  <pc:docChgLst>
    <pc:chgData name="Meyer Raphael (PAR-ES)" userId="79615dfe-ed48-4e74-a40f-4f7b034c1c27" providerId="ADAL" clId="{A2DD61CA-6B95-4175-889D-19BB2C2B976E}"/>
    <pc:docChg chg="modSld">
      <pc:chgData name="Meyer Raphael (PAR-ES)" userId="79615dfe-ed48-4e74-a40f-4f7b034c1c27" providerId="ADAL" clId="{A2DD61CA-6B95-4175-889D-19BB2C2B976E}" dt="2021-09-24T07:09:23.522" v="89" actId="1037"/>
      <pc:docMkLst>
        <pc:docMk/>
      </pc:docMkLst>
      <pc:sldChg chg="modSp mod">
        <pc:chgData name="Meyer Raphael (PAR-ES)" userId="79615dfe-ed48-4e74-a40f-4f7b034c1c27" providerId="ADAL" clId="{A2DD61CA-6B95-4175-889D-19BB2C2B976E}" dt="2021-09-24T07:08:54.959" v="70" actId="1037"/>
        <pc:sldMkLst>
          <pc:docMk/>
          <pc:sldMk cId="1495152177" sldId="298"/>
        </pc:sldMkLst>
        <pc:spChg chg="mod">
          <ac:chgData name="Meyer Raphael (PAR-ES)" userId="79615dfe-ed48-4e74-a40f-4f7b034c1c27" providerId="ADAL" clId="{A2DD61CA-6B95-4175-889D-19BB2C2B976E}" dt="2021-09-24T07:08:54.959" v="70" actId="1037"/>
          <ac:spMkLst>
            <pc:docMk/>
            <pc:sldMk cId="1495152177" sldId="298"/>
            <ac:spMk id="12" creationId="{970D2C07-63A2-4265-B006-56F685FE80A5}"/>
          </ac:spMkLst>
        </pc:spChg>
        <pc:spChg chg="mod">
          <ac:chgData name="Meyer Raphael (PAR-ES)" userId="79615dfe-ed48-4e74-a40f-4f7b034c1c27" providerId="ADAL" clId="{A2DD61CA-6B95-4175-889D-19BB2C2B976E}" dt="2021-09-24T07:08:54.959" v="70" actId="1037"/>
          <ac:spMkLst>
            <pc:docMk/>
            <pc:sldMk cId="1495152177" sldId="298"/>
            <ac:spMk id="13" creationId="{93412675-62AA-41D8-997C-4E877ED953A8}"/>
          </ac:spMkLst>
        </pc:spChg>
        <pc:graphicFrameChg chg="modGraphic">
          <ac:chgData name="Meyer Raphael (PAR-ES)" userId="79615dfe-ed48-4e74-a40f-4f7b034c1c27" providerId="ADAL" clId="{A2DD61CA-6B95-4175-889D-19BB2C2B976E}" dt="2021-09-24T06:57:21.433" v="22"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A2DD61CA-6B95-4175-889D-19BB2C2B976E}" dt="2021-09-24T07:08:54.959" v="70" actId="1037"/>
          <ac:cxnSpMkLst>
            <pc:docMk/>
            <pc:sldMk cId="1495152177" sldId="298"/>
            <ac:cxnSpMk id="8" creationId="{6F3EB9D3-E612-42D9-859B-1905BD876C26}"/>
          </ac:cxnSpMkLst>
        </pc:cxnChg>
      </pc:sldChg>
      <pc:sldChg chg="modTransition">
        <pc:chgData name="Meyer Raphael (PAR-ES)" userId="79615dfe-ed48-4e74-a40f-4f7b034c1c27" providerId="ADAL" clId="{A2DD61CA-6B95-4175-889D-19BB2C2B976E}" dt="2021-09-21T09:18:43.188" v="0"/>
        <pc:sldMkLst>
          <pc:docMk/>
          <pc:sldMk cId="3137099422" sldId="358"/>
        </pc:sldMkLst>
      </pc:sldChg>
      <pc:sldChg chg="modSp mod">
        <pc:chgData name="Meyer Raphael (PAR-ES)" userId="79615dfe-ed48-4e74-a40f-4f7b034c1c27" providerId="ADAL" clId="{A2DD61CA-6B95-4175-889D-19BB2C2B976E}" dt="2021-09-24T07:09:04.741" v="80" actId="1037"/>
        <pc:sldMkLst>
          <pc:docMk/>
          <pc:sldMk cId="3590012689" sldId="365"/>
        </pc:sldMkLst>
        <pc:spChg chg="mod">
          <ac:chgData name="Meyer Raphael (PAR-ES)" userId="79615dfe-ed48-4e74-a40f-4f7b034c1c27" providerId="ADAL" clId="{A2DD61CA-6B95-4175-889D-19BB2C2B976E}" dt="2021-09-24T07:09:04.741" v="80" actId="1037"/>
          <ac:spMkLst>
            <pc:docMk/>
            <pc:sldMk cId="3590012689" sldId="365"/>
            <ac:spMk id="12" creationId="{970D2C07-63A2-4265-B006-56F685FE80A5}"/>
          </ac:spMkLst>
        </pc:spChg>
        <pc:spChg chg="mod">
          <ac:chgData name="Meyer Raphael (PAR-ES)" userId="79615dfe-ed48-4e74-a40f-4f7b034c1c27" providerId="ADAL" clId="{A2DD61CA-6B95-4175-889D-19BB2C2B976E}" dt="2021-09-24T07:09:04.741" v="80" actId="1037"/>
          <ac:spMkLst>
            <pc:docMk/>
            <pc:sldMk cId="3590012689" sldId="365"/>
            <ac:spMk id="13" creationId="{93412675-62AA-41D8-997C-4E877ED953A8}"/>
          </ac:spMkLst>
        </pc:spChg>
        <pc:graphicFrameChg chg="mod modGraphic">
          <ac:chgData name="Meyer Raphael (PAR-ES)" userId="79615dfe-ed48-4e74-a40f-4f7b034c1c27" providerId="ADAL" clId="{A2DD61CA-6B95-4175-889D-19BB2C2B976E}" dt="2021-09-24T06:57:33.811" v="25" actId="20577"/>
          <ac:graphicFrameMkLst>
            <pc:docMk/>
            <pc:sldMk cId="3590012689" sldId="365"/>
            <ac:graphicFrameMk id="9" creationId="{E1369C63-C4A7-403B-A03F-B004599F910A}"/>
          </ac:graphicFrameMkLst>
        </pc:graphicFrameChg>
        <pc:cxnChg chg="mod">
          <ac:chgData name="Meyer Raphael (PAR-ES)" userId="79615dfe-ed48-4e74-a40f-4f7b034c1c27" providerId="ADAL" clId="{A2DD61CA-6B95-4175-889D-19BB2C2B976E}" dt="2021-09-24T07:09:04.741" v="80" actId="1037"/>
          <ac:cxnSpMkLst>
            <pc:docMk/>
            <pc:sldMk cId="3590012689" sldId="365"/>
            <ac:cxnSpMk id="8" creationId="{6F3EB9D3-E612-42D9-859B-1905BD876C26}"/>
          </ac:cxnSpMkLst>
        </pc:cxnChg>
      </pc:sldChg>
      <pc:sldChg chg="modSp mod">
        <pc:chgData name="Meyer Raphael (PAR-ES)" userId="79615dfe-ed48-4e74-a40f-4f7b034c1c27" providerId="ADAL" clId="{A2DD61CA-6B95-4175-889D-19BB2C2B976E}" dt="2021-09-24T07:09:23.522" v="89" actId="1037"/>
        <pc:sldMkLst>
          <pc:docMk/>
          <pc:sldMk cId="689864941" sldId="366"/>
        </pc:sldMkLst>
        <pc:spChg chg="mod">
          <ac:chgData name="Meyer Raphael (PAR-ES)" userId="79615dfe-ed48-4e74-a40f-4f7b034c1c27" providerId="ADAL" clId="{A2DD61CA-6B95-4175-889D-19BB2C2B976E}" dt="2021-09-24T07:09:23.522" v="89" actId="1037"/>
          <ac:spMkLst>
            <pc:docMk/>
            <pc:sldMk cId="689864941" sldId="366"/>
            <ac:spMk id="12" creationId="{970D2C07-63A2-4265-B006-56F685FE80A5}"/>
          </ac:spMkLst>
        </pc:spChg>
        <pc:spChg chg="mod">
          <ac:chgData name="Meyer Raphael (PAR-ES)" userId="79615dfe-ed48-4e74-a40f-4f7b034c1c27" providerId="ADAL" clId="{A2DD61CA-6B95-4175-889D-19BB2C2B976E}" dt="2021-09-24T07:09:23.522" v="89" actId="1037"/>
          <ac:spMkLst>
            <pc:docMk/>
            <pc:sldMk cId="689864941" sldId="366"/>
            <ac:spMk id="13" creationId="{93412675-62AA-41D8-997C-4E877ED953A8}"/>
          </ac:spMkLst>
        </pc:spChg>
        <pc:graphicFrameChg chg="mod modGraphic">
          <ac:chgData name="Meyer Raphael (PAR-ES)" userId="79615dfe-ed48-4e74-a40f-4f7b034c1c27" providerId="ADAL" clId="{A2DD61CA-6B95-4175-889D-19BB2C2B976E}" dt="2021-09-24T06:57:41.829" v="28" actId="20577"/>
          <ac:graphicFrameMkLst>
            <pc:docMk/>
            <pc:sldMk cId="689864941" sldId="366"/>
            <ac:graphicFrameMk id="9" creationId="{E1369C63-C4A7-403B-A03F-B004599F910A}"/>
          </ac:graphicFrameMkLst>
        </pc:graphicFrameChg>
        <pc:cxnChg chg="mod">
          <ac:chgData name="Meyer Raphael (PAR-ES)" userId="79615dfe-ed48-4e74-a40f-4f7b034c1c27" providerId="ADAL" clId="{A2DD61CA-6B95-4175-889D-19BB2C2B976E}" dt="2021-09-24T07:09:23.522" v="89" actId="1037"/>
          <ac:cxnSpMkLst>
            <pc:docMk/>
            <pc:sldMk cId="689864941" sldId="366"/>
            <ac:cxnSpMk id="8" creationId="{6F3EB9D3-E612-42D9-859B-1905BD876C26}"/>
          </ac:cxnSpMkLst>
        </pc:cxnChg>
      </pc:sldChg>
    </pc:docChg>
  </pc:docChgLst>
  <pc:docChgLst>
    <pc:chgData name="Meyer Raphael (PAR-ES)" userId="79615dfe-ed48-4e74-a40f-4f7b034c1c27" providerId="ADAL" clId="{4F3D56FD-03CF-408F-8B13-4C92A26822DE}"/>
    <pc:docChg chg="modSld">
      <pc:chgData name="Meyer Raphael (PAR-ES)" userId="79615dfe-ed48-4e74-a40f-4f7b034c1c27" providerId="ADAL" clId="{4F3D56FD-03CF-408F-8B13-4C92A26822DE}" dt="2021-08-27T09:01:32.964" v="100" actId="1038"/>
      <pc:docMkLst>
        <pc:docMk/>
      </pc:docMkLst>
      <pc:sldChg chg="modSp mod">
        <pc:chgData name="Meyer Raphael (PAR-ES)" userId="79615dfe-ed48-4e74-a40f-4f7b034c1c27" providerId="ADAL" clId="{4F3D56FD-03CF-408F-8B13-4C92A26822DE}" dt="2021-08-27T09:01:12.486" v="82" actId="1037"/>
        <pc:sldMkLst>
          <pc:docMk/>
          <pc:sldMk cId="1495152177" sldId="298"/>
        </pc:sldMkLst>
        <pc:spChg chg="mod">
          <ac:chgData name="Meyer Raphael (PAR-ES)" userId="79615dfe-ed48-4e74-a40f-4f7b034c1c27" providerId="ADAL" clId="{4F3D56FD-03CF-408F-8B13-4C92A26822DE}" dt="2021-08-27T09:01:12.486" v="82" actId="1037"/>
          <ac:spMkLst>
            <pc:docMk/>
            <pc:sldMk cId="1495152177" sldId="298"/>
            <ac:spMk id="12" creationId="{970D2C07-63A2-4265-B006-56F685FE80A5}"/>
          </ac:spMkLst>
        </pc:spChg>
        <pc:spChg chg="mod">
          <ac:chgData name="Meyer Raphael (PAR-ES)" userId="79615dfe-ed48-4e74-a40f-4f7b034c1c27" providerId="ADAL" clId="{4F3D56FD-03CF-408F-8B13-4C92A26822DE}" dt="2021-08-27T09:01:12.486" v="82" actId="1037"/>
          <ac:spMkLst>
            <pc:docMk/>
            <pc:sldMk cId="1495152177" sldId="298"/>
            <ac:spMk id="13" creationId="{93412675-62AA-41D8-997C-4E877ED953A8}"/>
          </ac:spMkLst>
        </pc:spChg>
        <pc:graphicFrameChg chg="modGraphic">
          <ac:chgData name="Meyer Raphael (PAR-ES)" userId="79615dfe-ed48-4e74-a40f-4f7b034c1c27" providerId="ADAL" clId="{4F3D56FD-03CF-408F-8B13-4C92A26822DE}" dt="2021-08-27T08:52:22.926" v="17"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4F3D56FD-03CF-408F-8B13-4C92A26822DE}" dt="2021-08-27T09:01:12.486" v="82" actId="1037"/>
          <ac:cxnSpMkLst>
            <pc:docMk/>
            <pc:sldMk cId="1495152177" sldId="298"/>
            <ac:cxnSpMk id="8" creationId="{6F3EB9D3-E612-42D9-859B-1905BD876C26}"/>
          </ac:cxnSpMkLst>
        </pc:cxnChg>
      </pc:sldChg>
      <pc:sldChg chg="modSp mod">
        <pc:chgData name="Meyer Raphael (PAR-ES)" userId="79615dfe-ed48-4e74-a40f-4f7b034c1c27" providerId="ADAL" clId="{4F3D56FD-03CF-408F-8B13-4C92A26822DE}" dt="2021-08-27T09:01:21.066" v="90" actId="1038"/>
        <pc:sldMkLst>
          <pc:docMk/>
          <pc:sldMk cId="3590012689" sldId="365"/>
        </pc:sldMkLst>
        <pc:spChg chg="mod">
          <ac:chgData name="Meyer Raphael (PAR-ES)" userId="79615dfe-ed48-4e74-a40f-4f7b034c1c27" providerId="ADAL" clId="{4F3D56FD-03CF-408F-8B13-4C92A26822DE}" dt="2021-08-27T09:01:21.066" v="90" actId="1038"/>
          <ac:spMkLst>
            <pc:docMk/>
            <pc:sldMk cId="3590012689" sldId="365"/>
            <ac:spMk id="12" creationId="{970D2C07-63A2-4265-B006-56F685FE80A5}"/>
          </ac:spMkLst>
        </pc:spChg>
        <pc:spChg chg="mod">
          <ac:chgData name="Meyer Raphael (PAR-ES)" userId="79615dfe-ed48-4e74-a40f-4f7b034c1c27" providerId="ADAL" clId="{4F3D56FD-03CF-408F-8B13-4C92A26822DE}" dt="2021-08-27T09:01:21.066" v="90" actId="1038"/>
          <ac:spMkLst>
            <pc:docMk/>
            <pc:sldMk cId="3590012689" sldId="365"/>
            <ac:spMk id="13" creationId="{93412675-62AA-41D8-997C-4E877ED953A8}"/>
          </ac:spMkLst>
        </pc:spChg>
        <pc:graphicFrameChg chg="mod modGraphic">
          <ac:chgData name="Meyer Raphael (PAR-ES)" userId="79615dfe-ed48-4e74-a40f-4f7b034c1c27" providerId="ADAL" clId="{4F3D56FD-03CF-408F-8B13-4C92A26822DE}" dt="2021-08-27T08:52:51.171" v="23" actId="20577"/>
          <ac:graphicFrameMkLst>
            <pc:docMk/>
            <pc:sldMk cId="3590012689" sldId="365"/>
            <ac:graphicFrameMk id="9" creationId="{E1369C63-C4A7-403B-A03F-B004599F910A}"/>
          </ac:graphicFrameMkLst>
        </pc:graphicFrameChg>
        <pc:cxnChg chg="mod">
          <ac:chgData name="Meyer Raphael (PAR-ES)" userId="79615dfe-ed48-4e74-a40f-4f7b034c1c27" providerId="ADAL" clId="{4F3D56FD-03CF-408F-8B13-4C92A26822DE}" dt="2021-08-27T09:01:21.066" v="90" actId="1038"/>
          <ac:cxnSpMkLst>
            <pc:docMk/>
            <pc:sldMk cId="3590012689" sldId="365"/>
            <ac:cxnSpMk id="8" creationId="{6F3EB9D3-E612-42D9-859B-1905BD876C26}"/>
          </ac:cxnSpMkLst>
        </pc:cxnChg>
      </pc:sldChg>
      <pc:sldChg chg="modSp mod">
        <pc:chgData name="Meyer Raphael (PAR-ES)" userId="79615dfe-ed48-4e74-a40f-4f7b034c1c27" providerId="ADAL" clId="{4F3D56FD-03CF-408F-8B13-4C92A26822DE}" dt="2021-08-27T09:01:32.964" v="100" actId="1038"/>
        <pc:sldMkLst>
          <pc:docMk/>
          <pc:sldMk cId="689864941" sldId="366"/>
        </pc:sldMkLst>
        <pc:spChg chg="mod">
          <ac:chgData name="Meyer Raphael (PAR-ES)" userId="79615dfe-ed48-4e74-a40f-4f7b034c1c27" providerId="ADAL" clId="{4F3D56FD-03CF-408F-8B13-4C92A26822DE}" dt="2021-08-27T09:01:32.964" v="100" actId="1038"/>
          <ac:spMkLst>
            <pc:docMk/>
            <pc:sldMk cId="689864941" sldId="366"/>
            <ac:spMk id="12" creationId="{970D2C07-63A2-4265-B006-56F685FE80A5}"/>
          </ac:spMkLst>
        </pc:spChg>
        <pc:spChg chg="mod">
          <ac:chgData name="Meyer Raphael (PAR-ES)" userId="79615dfe-ed48-4e74-a40f-4f7b034c1c27" providerId="ADAL" clId="{4F3D56FD-03CF-408F-8B13-4C92A26822DE}" dt="2021-08-27T09:01:32.964" v="100" actId="1038"/>
          <ac:spMkLst>
            <pc:docMk/>
            <pc:sldMk cId="689864941" sldId="366"/>
            <ac:spMk id="13" creationId="{93412675-62AA-41D8-997C-4E877ED953A8}"/>
          </ac:spMkLst>
        </pc:spChg>
        <pc:graphicFrameChg chg="mod modGraphic">
          <ac:chgData name="Meyer Raphael (PAR-ES)" userId="79615dfe-ed48-4e74-a40f-4f7b034c1c27" providerId="ADAL" clId="{4F3D56FD-03CF-408F-8B13-4C92A26822DE}" dt="2021-08-27T08:52:46.229" v="21" actId="20577"/>
          <ac:graphicFrameMkLst>
            <pc:docMk/>
            <pc:sldMk cId="689864941" sldId="366"/>
            <ac:graphicFrameMk id="9" creationId="{E1369C63-C4A7-403B-A03F-B004599F910A}"/>
          </ac:graphicFrameMkLst>
        </pc:graphicFrameChg>
        <pc:cxnChg chg="mod">
          <ac:chgData name="Meyer Raphael (PAR-ES)" userId="79615dfe-ed48-4e74-a40f-4f7b034c1c27" providerId="ADAL" clId="{4F3D56FD-03CF-408F-8B13-4C92A26822DE}" dt="2021-08-27T09:01:32.964" v="100" actId="1038"/>
          <ac:cxnSpMkLst>
            <pc:docMk/>
            <pc:sldMk cId="689864941" sldId="366"/>
            <ac:cxnSpMk id="8" creationId="{6F3EB9D3-E612-42D9-859B-1905BD876C26}"/>
          </ac:cxnSpMkLst>
        </pc:cxnChg>
      </pc:sldChg>
    </pc:docChg>
  </pc:docChgLst>
  <pc:docChgLst>
    <pc:chgData name="Meyer Raphael (PAR-ES)" userId="79615dfe-ed48-4e74-a40f-4f7b034c1c27" providerId="ADAL" clId="{CD636C40-63FB-40E8-86E9-5777E408B16F}"/>
    <pc:docChg chg="undo custSel addSld delSld modSld sldOrd">
      <pc:chgData name="Meyer Raphael (PAR-ES)" userId="79615dfe-ed48-4e74-a40f-4f7b034c1c27" providerId="ADAL" clId="{CD636C40-63FB-40E8-86E9-5777E408B16F}" dt="2021-02-11T08:20:50.692" v="109" actId="20577"/>
      <pc:docMkLst>
        <pc:docMk/>
      </pc:docMkLst>
      <pc:sldChg chg="addSp delSp modSp mod">
        <pc:chgData name="Meyer Raphael (PAR-ES)" userId="79615dfe-ed48-4e74-a40f-4f7b034c1c27" providerId="ADAL" clId="{CD636C40-63FB-40E8-86E9-5777E408B16F}" dt="2021-02-11T08:18:30.197" v="85" actId="552"/>
        <pc:sldMkLst>
          <pc:docMk/>
          <pc:sldMk cId="1667945532" sldId="306"/>
        </pc:sldMkLst>
        <pc:spChg chg="mod">
          <ac:chgData name="Meyer Raphael (PAR-ES)" userId="79615dfe-ed48-4e74-a40f-4f7b034c1c27" providerId="ADAL" clId="{CD636C40-63FB-40E8-86E9-5777E408B16F}" dt="2021-02-11T08:09:18.237" v="20" actId="20577"/>
          <ac:spMkLst>
            <pc:docMk/>
            <pc:sldMk cId="1667945532" sldId="306"/>
            <ac:spMk id="8" creationId="{5857C2A1-2CB8-4D4A-AEFD-E809BF73D04F}"/>
          </ac:spMkLst>
        </pc:spChg>
        <pc:spChg chg="mod">
          <ac:chgData name="Meyer Raphael (PAR-ES)" userId="79615dfe-ed48-4e74-a40f-4f7b034c1c27" providerId="ADAL" clId="{CD636C40-63FB-40E8-86E9-5777E408B16F}" dt="2021-02-11T08:09:50.711" v="24" actId="20577"/>
          <ac:spMkLst>
            <pc:docMk/>
            <pc:sldMk cId="1667945532" sldId="306"/>
            <ac:spMk id="27" creationId="{46A6B042-39EE-4A58-BBAA-13D52264B660}"/>
          </ac:spMkLst>
        </pc:spChg>
        <pc:spChg chg="mod">
          <ac:chgData name="Meyer Raphael (PAR-ES)" userId="79615dfe-ed48-4e74-a40f-4f7b034c1c27" providerId="ADAL" clId="{CD636C40-63FB-40E8-86E9-5777E408B16F}" dt="2021-02-11T08:09:58.975" v="26" actId="20577"/>
          <ac:spMkLst>
            <pc:docMk/>
            <pc:sldMk cId="1667945532" sldId="306"/>
            <ac:spMk id="31" creationId="{7491A47D-CAD4-478D-8F3A-296FFCB799F9}"/>
          </ac:spMkLst>
        </pc:spChg>
        <pc:spChg chg="mod">
          <ac:chgData name="Meyer Raphael (PAR-ES)" userId="79615dfe-ed48-4e74-a40f-4f7b034c1c27" providerId="ADAL" clId="{CD636C40-63FB-40E8-86E9-5777E408B16F}" dt="2021-02-11T08:09:14.863" v="18" actId="1076"/>
          <ac:spMkLst>
            <pc:docMk/>
            <pc:sldMk cId="1667945532" sldId="306"/>
            <ac:spMk id="32" creationId="{E65DDA4F-7190-4D5B-B875-6818D18C9F6E}"/>
          </ac:spMkLst>
        </pc:spChg>
        <pc:spChg chg="del mod">
          <ac:chgData name="Meyer Raphael (PAR-ES)" userId="79615dfe-ed48-4e74-a40f-4f7b034c1c27" providerId="ADAL" clId="{CD636C40-63FB-40E8-86E9-5777E408B16F}" dt="2021-02-11T08:18:21.466" v="84" actId="478"/>
          <ac:spMkLst>
            <pc:docMk/>
            <pc:sldMk cId="1667945532" sldId="306"/>
            <ac:spMk id="33" creationId="{1263211D-7647-4ACE-B729-2338DF0FFB67}"/>
          </ac:spMkLst>
        </pc:spChg>
        <pc:spChg chg="add mod">
          <ac:chgData name="Meyer Raphael (PAR-ES)" userId="79615dfe-ed48-4e74-a40f-4f7b034c1c27" providerId="ADAL" clId="{CD636C40-63FB-40E8-86E9-5777E408B16F}" dt="2021-02-11T08:18:30.197" v="85" actId="552"/>
          <ac:spMkLst>
            <pc:docMk/>
            <pc:sldMk cId="1667945532" sldId="306"/>
            <ac:spMk id="36" creationId="{27098D61-DF6B-46BC-A4A9-43CB29665BFF}"/>
          </ac:spMkLst>
        </pc:spChg>
        <pc:spChg chg="mod">
          <ac:chgData name="Meyer Raphael (PAR-ES)" userId="79615dfe-ed48-4e74-a40f-4f7b034c1c27" providerId="ADAL" clId="{CD636C40-63FB-40E8-86E9-5777E408B16F}" dt="2021-02-11T08:18:30.197" v="85" actId="552"/>
          <ac:spMkLst>
            <pc:docMk/>
            <pc:sldMk cId="1667945532" sldId="306"/>
            <ac:spMk id="37" creationId="{16628D91-C37D-41C8-A84A-DDEB3E2C1246}"/>
          </ac:spMkLst>
        </pc:spChg>
      </pc:sldChg>
      <pc:sldChg chg="del">
        <pc:chgData name="Meyer Raphael (PAR-ES)" userId="79615dfe-ed48-4e74-a40f-4f7b034c1c27" providerId="ADAL" clId="{CD636C40-63FB-40E8-86E9-5777E408B16F}" dt="2021-02-11T08:14:51.826" v="56" actId="2696"/>
        <pc:sldMkLst>
          <pc:docMk/>
          <pc:sldMk cId="3641903134" sldId="326"/>
        </pc:sldMkLst>
      </pc:sldChg>
      <pc:sldChg chg="del">
        <pc:chgData name="Meyer Raphael (PAR-ES)" userId="79615dfe-ed48-4e74-a40f-4f7b034c1c27" providerId="ADAL" clId="{CD636C40-63FB-40E8-86E9-5777E408B16F}" dt="2021-02-11T08:16:43.279" v="65" actId="2696"/>
        <pc:sldMkLst>
          <pc:docMk/>
          <pc:sldMk cId="3348111305" sldId="327"/>
        </pc:sldMkLst>
      </pc:sldChg>
      <pc:sldChg chg="addSp delSp modSp add ord">
        <pc:chgData name="Meyer Raphael (PAR-ES)" userId="79615dfe-ed48-4e74-a40f-4f7b034c1c27" providerId="ADAL" clId="{CD636C40-63FB-40E8-86E9-5777E408B16F}" dt="2021-02-11T08:18:55.947" v="87"/>
        <pc:sldMkLst>
          <pc:docMk/>
          <pc:sldMk cId="2900013276" sldId="328"/>
        </pc:sldMkLst>
        <pc:spChg chg="mod">
          <ac:chgData name="Meyer Raphael (PAR-ES)" userId="79615dfe-ed48-4e74-a40f-4f7b034c1c27" providerId="ADAL" clId="{CD636C40-63FB-40E8-86E9-5777E408B16F}" dt="2021-02-11T08:13:34.494" v="51"/>
          <ac:spMkLst>
            <pc:docMk/>
            <pc:sldMk cId="2900013276" sldId="328"/>
            <ac:spMk id="2" creationId="{A2DC317F-F1F4-4624-8FC1-3B68C1DBB3DA}"/>
          </ac:spMkLst>
        </pc:spChg>
        <pc:spChg chg="del">
          <ac:chgData name="Meyer Raphael (PAR-ES)" userId="79615dfe-ed48-4e74-a40f-4f7b034c1c27" providerId="ADAL" clId="{CD636C40-63FB-40E8-86E9-5777E408B16F}" dt="2021-02-11T08:13:09.291" v="49" actId="478"/>
          <ac:spMkLst>
            <pc:docMk/>
            <pc:sldMk cId="2900013276" sldId="328"/>
            <ac:spMk id="7" creationId="{BA3F9A72-0541-4D1F-8CD8-1C2B8074FA1B}"/>
          </ac:spMkLst>
        </pc:spChg>
        <pc:spChg chg="mod">
          <ac:chgData name="Meyer Raphael (PAR-ES)" userId="79615dfe-ed48-4e74-a40f-4f7b034c1c27" providerId="ADAL" clId="{CD636C40-63FB-40E8-86E9-5777E408B16F}" dt="2021-02-11T08:14:20.855" v="54" actId="14100"/>
          <ac:spMkLst>
            <pc:docMk/>
            <pc:sldMk cId="2900013276" sldId="328"/>
            <ac:spMk id="8" creationId="{5857C2A1-2CB8-4D4A-AEFD-E809BF73D04F}"/>
          </ac:spMkLst>
        </pc:spChg>
        <pc:spChg chg="del">
          <ac:chgData name="Meyer Raphael (PAR-ES)" userId="79615dfe-ed48-4e74-a40f-4f7b034c1c27" providerId="ADAL" clId="{CD636C40-63FB-40E8-86E9-5777E408B16F}" dt="2021-02-11T08:13:09.291" v="49" actId="478"/>
          <ac:spMkLst>
            <pc:docMk/>
            <pc:sldMk cId="2900013276" sldId="328"/>
            <ac:spMk id="9" creationId="{B6990B61-32B2-4ADC-BF01-EDF7B4080F97}"/>
          </ac:spMkLst>
        </pc:spChg>
        <pc:spChg chg="mod">
          <ac:chgData name="Meyer Raphael (PAR-ES)" userId="79615dfe-ed48-4e74-a40f-4f7b034c1c27" providerId="ADAL" clId="{CD636C40-63FB-40E8-86E9-5777E408B16F}" dt="2021-02-11T08:13:43.335" v="52"/>
          <ac:spMkLst>
            <pc:docMk/>
            <pc:sldMk cId="2900013276" sldId="328"/>
            <ac:spMk id="10" creationId="{077DFD58-E5EE-4B68-9325-D935DB04DD40}"/>
          </ac:spMkLst>
        </pc:spChg>
        <pc:spChg chg="del">
          <ac:chgData name="Meyer Raphael (PAR-ES)" userId="79615dfe-ed48-4e74-a40f-4f7b034c1c27" providerId="ADAL" clId="{CD636C40-63FB-40E8-86E9-5777E408B16F}" dt="2021-02-11T08:13:09.291" v="49" actId="478"/>
          <ac:spMkLst>
            <pc:docMk/>
            <pc:sldMk cId="2900013276" sldId="328"/>
            <ac:spMk id="17" creationId="{785E740C-F94A-4208-8DFD-63A603C16577}"/>
          </ac:spMkLst>
        </pc:spChg>
        <pc:spChg chg="del">
          <ac:chgData name="Meyer Raphael (PAR-ES)" userId="79615dfe-ed48-4e74-a40f-4f7b034c1c27" providerId="ADAL" clId="{CD636C40-63FB-40E8-86E9-5777E408B16F}" dt="2021-02-11T08:13:09.291" v="49" actId="478"/>
          <ac:spMkLst>
            <pc:docMk/>
            <pc:sldMk cId="2900013276" sldId="328"/>
            <ac:spMk id="26" creationId="{BFD498B5-D73E-4C8A-9FAF-B3547647538C}"/>
          </ac:spMkLst>
        </pc:spChg>
        <pc:spChg chg="mod">
          <ac:chgData name="Meyer Raphael (PAR-ES)" userId="79615dfe-ed48-4e74-a40f-4f7b034c1c27" providerId="ADAL" clId="{CD636C40-63FB-40E8-86E9-5777E408B16F}" dt="2021-02-11T08:14:31.578" v="55"/>
          <ac:spMkLst>
            <pc:docMk/>
            <pc:sldMk cId="2900013276" sldId="328"/>
            <ac:spMk id="27" creationId="{46A6B042-39EE-4A58-BBAA-13D52264B660}"/>
          </ac:spMkLst>
        </pc:spChg>
        <pc:spChg chg="del">
          <ac:chgData name="Meyer Raphael (PAR-ES)" userId="79615dfe-ed48-4e74-a40f-4f7b034c1c27" providerId="ADAL" clId="{CD636C40-63FB-40E8-86E9-5777E408B16F}" dt="2021-02-11T08:18:46.580" v="86" actId="478"/>
          <ac:spMkLst>
            <pc:docMk/>
            <pc:sldMk cId="2900013276" sldId="328"/>
            <ac:spMk id="33" creationId="{1263211D-7647-4ACE-B729-2338DF0FFB67}"/>
          </ac:spMkLst>
        </pc:spChg>
        <pc:spChg chg="add">
          <ac:chgData name="Meyer Raphael (PAR-ES)" userId="79615dfe-ed48-4e74-a40f-4f7b034c1c27" providerId="ADAL" clId="{CD636C40-63FB-40E8-86E9-5777E408B16F}" dt="2021-02-11T08:13:21.654" v="50"/>
          <ac:spMkLst>
            <pc:docMk/>
            <pc:sldMk cId="2900013276" sldId="328"/>
            <ac:spMk id="36" creationId="{9F620A94-48B3-4A32-8D02-8E0C7111D7C4}"/>
          </ac:spMkLst>
        </pc:spChg>
        <pc:spChg chg="del">
          <ac:chgData name="Meyer Raphael (PAR-ES)" userId="79615dfe-ed48-4e74-a40f-4f7b034c1c27" providerId="ADAL" clId="{CD636C40-63FB-40E8-86E9-5777E408B16F}" dt="2021-02-11T08:18:46.580" v="86" actId="478"/>
          <ac:spMkLst>
            <pc:docMk/>
            <pc:sldMk cId="2900013276" sldId="328"/>
            <ac:spMk id="37" creationId="{16628D91-C37D-41C8-A84A-DDEB3E2C1246}"/>
          </ac:spMkLst>
        </pc:spChg>
        <pc:spChg chg="add">
          <ac:chgData name="Meyer Raphael (PAR-ES)" userId="79615dfe-ed48-4e74-a40f-4f7b034c1c27" providerId="ADAL" clId="{CD636C40-63FB-40E8-86E9-5777E408B16F}" dt="2021-02-11T08:13:21.654" v="50"/>
          <ac:spMkLst>
            <pc:docMk/>
            <pc:sldMk cId="2900013276" sldId="328"/>
            <ac:spMk id="38" creationId="{7E0D9206-4F88-4FD5-A4E9-D4EE58655A73}"/>
          </ac:spMkLst>
        </pc:spChg>
        <pc:spChg chg="add">
          <ac:chgData name="Meyer Raphael (PAR-ES)" userId="79615dfe-ed48-4e74-a40f-4f7b034c1c27" providerId="ADAL" clId="{CD636C40-63FB-40E8-86E9-5777E408B16F}" dt="2021-02-11T08:13:21.654" v="50"/>
          <ac:spMkLst>
            <pc:docMk/>
            <pc:sldMk cId="2900013276" sldId="328"/>
            <ac:spMk id="39" creationId="{EBA33F06-F0C1-40E4-B0D3-3EF759D99492}"/>
          </ac:spMkLst>
        </pc:spChg>
        <pc:spChg chg="add">
          <ac:chgData name="Meyer Raphael (PAR-ES)" userId="79615dfe-ed48-4e74-a40f-4f7b034c1c27" providerId="ADAL" clId="{CD636C40-63FB-40E8-86E9-5777E408B16F}" dt="2021-02-11T08:13:21.654" v="50"/>
          <ac:spMkLst>
            <pc:docMk/>
            <pc:sldMk cId="2900013276" sldId="328"/>
            <ac:spMk id="40" creationId="{6951EDCC-BDC2-44B4-A0D5-81A9D2918899}"/>
          </ac:spMkLst>
        </pc:spChg>
        <pc:spChg chg="add">
          <ac:chgData name="Meyer Raphael (PAR-ES)" userId="79615dfe-ed48-4e74-a40f-4f7b034c1c27" providerId="ADAL" clId="{CD636C40-63FB-40E8-86E9-5777E408B16F}" dt="2021-02-11T08:18:55.947" v="87"/>
          <ac:spMkLst>
            <pc:docMk/>
            <pc:sldMk cId="2900013276" sldId="328"/>
            <ac:spMk id="41" creationId="{FF289EA6-3349-4669-8315-5B2140F42756}"/>
          </ac:spMkLst>
        </pc:spChg>
        <pc:spChg chg="add">
          <ac:chgData name="Meyer Raphael (PAR-ES)" userId="79615dfe-ed48-4e74-a40f-4f7b034c1c27" providerId="ADAL" clId="{CD636C40-63FB-40E8-86E9-5777E408B16F}" dt="2021-02-11T08:18:55.947" v="87"/>
          <ac:spMkLst>
            <pc:docMk/>
            <pc:sldMk cId="2900013276" sldId="328"/>
            <ac:spMk id="42" creationId="{E63861C7-D3B0-408F-823C-CD6D2C54C245}"/>
          </ac:spMkLst>
        </pc:spChg>
      </pc:sldChg>
      <pc:sldChg chg="addSp delSp modSp add ord">
        <pc:chgData name="Meyer Raphael (PAR-ES)" userId="79615dfe-ed48-4e74-a40f-4f7b034c1c27" providerId="ADAL" clId="{CD636C40-63FB-40E8-86E9-5777E408B16F}" dt="2021-02-11T08:20:50.692" v="109" actId="20577"/>
        <pc:sldMkLst>
          <pc:docMk/>
          <pc:sldMk cId="1718428447" sldId="329"/>
        </pc:sldMkLst>
        <pc:spChg chg="mod">
          <ac:chgData name="Meyer Raphael (PAR-ES)" userId="79615dfe-ed48-4e74-a40f-4f7b034c1c27" providerId="ADAL" clId="{CD636C40-63FB-40E8-86E9-5777E408B16F}" dt="2021-02-11T08:15:24.726" v="59"/>
          <ac:spMkLst>
            <pc:docMk/>
            <pc:sldMk cId="1718428447" sldId="329"/>
            <ac:spMk id="2" creationId="{A2DC317F-F1F4-4624-8FC1-3B68C1DBB3DA}"/>
          </ac:spMkLst>
        </pc:spChg>
        <pc:spChg chg="mod">
          <ac:chgData name="Meyer Raphael (PAR-ES)" userId="79615dfe-ed48-4e74-a40f-4f7b034c1c27" providerId="ADAL" clId="{CD636C40-63FB-40E8-86E9-5777E408B16F}" dt="2021-02-11T08:20:36.557" v="102" actId="20577"/>
          <ac:spMkLst>
            <pc:docMk/>
            <pc:sldMk cId="1718428447" sldId="329"/>
            <ac:spMk id="4" creationId="{FE424811-9A99-46D3-9443-AAB22DAEAB5A}"/>
          </ac:spMkLst>
        </pc:spChg>
        <pc:spChg chg="del">
          <ac:chgData name="Meyer Raphael (PAR-ES)" userId="79615dfe-ed48-4e74-a40f-4f7b034c1c27" providerId="ADAL" clId="{CD636C40-63FB-40E8-86E9-5777E408B16F}" dt="2021-02-11T08:15:04.848" v="57" actId="478"/>
          <ac:spMkLst>
            <pc:docMk/>
            <pc:sldMk cId="1718428447" sldId="329"/>
            <ac:spMk id="7" creationId="{BA3F9A72-0541-4D1F-8CD8-1C2B8074FA1B}"/>
          </ac:spMkLst>
        </pc:spChg>
        <pc:spChg chg="mod">
          <ac:chgData name="Meyer Raphael (PAR-ES)" userId="79615dfe-ed48-4e74-a40f-4f7b034c1c27" providerId="ADAL" clId="{CD636C40-63FB-40E8-86E9-5777E408B16F}" dt="2021-02-11T08:15:44.225" v="62" actId="14100"/>
          <ac:spMkLst>
            <pc:docMk/>
            <pc:sldMk cId="1718428447" sldId="329"/>
            <ac:spMk id="8" creationId="{5857C2A1-2CB8-4D4A-AEFD-E809BF73D04F}"/>
          </ac:spMkLst>
        </pc:spChg>
        <pc:spChg chg="del">
          <ac:chgData name="Meyer Raphael (PAR-ES)" userId="79615dfe-ed48-4e74-a40f-4f7b034c1c27" providerId="ADAL" clId="{CD636C40-63FB-40E8-86E9-5777E408B16F}" dt="2021-02-11T08:15:04.848" v="57" actId="478"/>
          <ac:spMkLst>
            <pc:docMk/>
            <pc:sldMk cId="1718428447" sldId="329"/>
            <ac:spMk id="9" creationId="{B6990B61-32B2-4ADC-BF01-EDF7B4080F97}"/>
          </ac:spMkLst>
        </pc:spChg>
        <pc:spChg chg="mod">
          <ac:chgData name="Meyer Raphael (PAR-ES)" userId="79615dfe-ed48-4e74-a40f-4f7b034c1c27" providerId="ADAL" clId="{CD636C40-63FB-40E8-86E9-5777E408B16F}" dt="2021-02-11T08:15:33.848" v="60"/>
          <ac:spMkLst>
            <pc:docMk/>
            <pc:sldMk cId="1718428447" sldId="329"/>
            <ac:spMk id="10" creationId="{077DFD58-E5EE-4B68-9325-D935DB04DD40}"/>
          </ac:spMkLst>
        </pc:spChg>
        <pc:spChg chg="del">
          <ac:chgData name="Meyer Raphael (PAR-ES)" userId="79615dfe-ed48-4e74-a40f-4f7b034c1c27" providerId="ADAL" clId="{CD636C40-63FB-40E8-86E9-5777E408B16F}" dt="2021-02-11T08:15:04.848" v="57" actId="478"/>
          <ac:spMkLst>
            <pc:docMk/>
            <pc:sldMk cId="1718428447" sldId="329"/>
            <ac:spMk id="17" creationId="{785E740C-F94A-4208-8DFD-63A603C16577}"/>
          </ac:spMkLst>
        </pc:spChg>
        <pc:spChg chg="del">
          <ac:chgData name="Meyer Raphael (PAR-ES)" userId="79615dfe-ed48-4e74-a40f-4f7b034c1c27" providerId="ADAL" clId="{CD636C40-63FB-40E8-86E9-5777E408B16F}" dt="2021-02-11T08:15:04.848" v="57" actId="478"/>
          <ac:spMkLst>
            <pc:docMk/>
            <pc:sldMk cId="1718428447" sldId="329"/>
            <ac:spMk id="26" creationId="{BFD498B5-D73E-4C8A-9FAF-B3547647538C}"/>
          </ac:spMkLst>
        </pc:spChg>
        <pc:spChg chg="mod">
          <ac:chgData name="Meyer Raphael (PAR-ES)" userId="79615dfe-ed48-4e74-a40f-4f7b034c1c27" providerId="ADAL" clId="{CD636C40-63FB-40E8-86E9-5777E408B16F}" dt="2021-02-11T08:15:59.736" v="64" actId="14100"/>
          <ac:spMkLst>
            <pc:docMk/>
            <pc:sldMk cId="1718428447" sldId="329"/>
            <ac:spMk id="27" creationId="{46A6B042-39EE-4A58-BBAA-13D52264B660}"/>
          </ac:spMkLst>
        </pc:spChg>
        <pc:spChg chg="del">
          <ac:chgData name="Meyer Raphael (PAR-ES)" userId="79615dfe-ed48-4e74-a40f-4f7b034c1c27" providerId="ADAL" clId="{CD636C40-63FB-40E8-86E9-5777E408B16F}" dt="2021-02-11T08:19:16.594" v="90" actId="478"/>
          <ac:spMkLst>
            <pc:docMk/>
            <pc:sldMk cId="1718428447" sldId="329"/>
            <ac:spMk id="33" creationId="{1263211D-7647-4ACE-B729-2338DF0FFB67}"/>
          </ac:spMkLst>
        </pc:spChg>
        <pc:spChg chg="add">
          <ac:chgData name="Meyer Raphael (PAR-ES)" userId="79615dfe-ed48-4e74-a40f-4f7b034c1c27" providerId="ADAL" clId="{CD636C40-63FB-40E8-86E9-5777E408B16F}" dt="2021-02-11T08:15:15.432" v="58"/>
          <ac:spMkLst>
            <pc:docMk/>
            <pc:sldMk cId="1718428447" sldId="329"/>
            <ac:spMk id="36" creationId="{17B621E9-2C02-4CFA-835E-85444E19539B}"/>
          </ac:spMkLst>
        </pc:spChg>
        <pc:spChg chg="del mod">
          <ac:chgData name="Meyer Raphael (PAR-ES)" userId="79615dfe-ed48-4e74-a40f-4f7b034c1c27" providerId="ADAL" clId="{CD636C40-63FB-40E8-86E9-5777E408B16F}" dt="2021-02-11T08:19:11.082" v="89" actId="478"/>
          <ac:spMkLst>
            <pc:docMk/>
            <pc:sldMk cId="1718428447" sldId="329"/>
            <ac:spMk id="37" creationId="{16628D91-C37D-41C8-A84A-DDEB3E2C1246}"/>
          </ac:spMkLst>
        </pc:spChg>
        <pc:spChg chg="add">
          <ac:chgData name="Meyer Raphael (PAR-ES)" userId="79615dfe-ed48-4e74-a40f-4f7b034c1c27" providerId="ADAL" clId="{CD636C40-63FB-40E8-86E9-5777E408B16F}" dt="2021-02-11T08:15:15.432" v="58"/>
          <ac:spMkLst>
            <pc:docMk/>
            <pc:sldMk cId="1718428447" sldId="329"/>
            <ac:spMk id="38" creationId="{A4460C9F-0999-4A0D-93FD-4A6F2822067A}"/>
          </ac:spMkLst>
        </pc:spChg>
        <pc:spChg chg="add">
          <ac:chgData name="Meyer Raphael (PAR-ES)" userId="79615dfe-ed48-4e74-a40f-4f7b034c1c27" providerId="ADAL" clId="{CD636C40-63FB-40E8-86E9-5777E408B16F}" dt="2021-02-11T08:15:15.432" v="58"/>
          <ac:spMkLst>
            <pc:docMk/>
            <pc:sldMk cId="1718428447" sldId="329"/>
            <ac:spMk id="39" creationId="{EF2F7D9D-41A1-4953-8842-4E33D1CFF182}"/>
          </ac:spMkLst>
        </pc:spChg>
        <pc:spChg chg="add">
          <ac:chgData name="Meyer Raphael (PAR-ES)" userId="79615dfe-ed48-4e74-a40f-4f7b034c1c27" providerId="ADAL" clId="{CD636C40-63FB-40E8-86E9-5777E408B16F}" dt="2021-02-11T08:15:15.432" v="58"/>
          <ac:spMkLst>
            <pc:docMk/>
            <pc:sldMk cId="1718428447" sldId="329"/>
            <ac:spMk id="40" creationId="{566DE827-96DF-4111-A359-BC47452AA72A}"/>
          </ac:spMkLst>
        </pc:spChg>
        <pc:spChg chg="add mod">
          <ac:chgData name="Meyer Raphael (PAR-ES)" userId="79615dfe-ed48-4e74-a40f-4f7b034c1c27" providerId="ADAL" clId="{CD636C40-63FB-40E8-86E9-5777E408B16F}" dt="2021-02-11T08:20:19.594" v="99" actId="20577"/>
          <ac:spMkLst>
            <pc:docMk/>
            <pc:sldMk cId="1718428447" sldId="329"/>
            <ac:spMk id="41" creationId="{03E86024-0847-4E13-9015-F5986F92E85E}"/>
          </ac:spMkLst>
        </pc:spChg>
        <pc:spChg chg="add mod">
          <ac:chgData name="Meyer Raphael (PAR-ES)" userId="79615dfe-ed48-4e74-a40f-4f7b034c1c27" providerId="ADAL" clId="{CD636C40-63FB-40E8-86E9-5777E408B16F}" dt="2021-02-11T08:20:50.692" v="109" actId="20577"/>
          <ac:spMkLst>
            <pc:docMk/>
            <pc:sldMk cId="1718428447" sldId="329"/>
            <ac:spMk id="42" creationId="{A9A88063-EB30-4637-B156-6887AD719DE3}"/>
          </ac:spMkLst>
        </pc:spChg>
      </pc:sldChg>
    </pc:docChg>
  </pc:docChgLst>
  <pc:docChgLst>
    <pc:chgData name="Meyer Raphael (PAR-ES)" userId="79615dfe-ed48-4e74-a40f-4f7b034c1c27" providerId="ADAL" clId="{87A7CCAC-0DF3-412D-A196-A928A3FA26F0}"/>
    <pc:docChg chg="modSld">
      <pc:chgData name="Meyer Raphael (PAR-ES)" userId="79615dfe-ed48-4e74-a40f-4f7b034c1c27" providerId="ADAL" clId="{87A7CCAC-0DF3-412D-A196-A928A3FA26F0}" dt="2021-10-13T13:14:33.241" v="3" actId="207"/>
      <pc:docMkLst>
        <pc:docMk/>
      </pc:docMkLst>
      <pc:sldChg chg="modSp">
        <pc:chgData name="Meyer Raphael (PAR-ES)" userId="79615dfe-ed48-4e74-a40f-4f7b034c1c27" providerId="ADAL" clId="{87A7CCAC-0DF3-412D-A196-A928A3FA26F0}" dt="2021-10-13T13:14:33.241" v="3" actId="207"/>
        <pc:sldMkLst>
          <pc:docMk/>
          <pc:sldMk cId="1537997412" sldId="373"/>
        </pc:sldMkLst>
        <pc:graphicFrameChg chg="mod">
          <ac:chgData name="Meyer Raphael (PAR-ES)" userId="79615dfe-ed48-4e74-a40f-4f7b034c1c27" providerId="ADAL" clId="{87A7CCAC-0DF3-412D-A196-A928A3FA26F0}" dt="2021-10-13T13:14:33.241" v="3" actId="207"/>
          <ac:graphicFrameMkLst>
            <pc:docMk/>
            <pc:sldMk cId="1537997412" sldId="373"/>
            <ac:graphicFrameMk id="10" creationId="{E856299E-9B60-478F-8674-1045505692C4}"/>
          </ac:graphicFrameMkLst>
        </pc:graphicFrameChg>
      </pc:sldChg>
    </pc:docChg>
  </pc:docChgLst>
  <pc:docChgLst>
    <pc:chgData name="Meyer Raphael (PAR-ES)" userId="79615dfe-ed48-4e74-a40f-4f7b034c1c27" providerId="ADAL" clId="{4CBE23F9-C8E6-4C37-B105-84FCD3DBA28A}"/>
    <pc:docChg chg="custSel addSld delSld modSld sldOrd">
      <pc:chgData name="Meyer Raphael (PAR-ES)" userId="79615dfe-ed48-4e74-a40f-4f7b034c1c27" providerId="ADAL" clId="{4CBE23F9-C8E6-4C37-B105-84FCD3DBA28A}" dt="2021-04-22T06:51:26.178" v="81" actId="2696"/>
      <pc:docMkLst>
        <pc:docMk/>
      </pc:docMkLst>
      <pc:sldChg chg="modSp mod">
        <pc:chgData name="Meyer Raphael (PAR-ES)" userId="79615dfe-ed48-4e74-a40f-4f7b034c1c27" providerId="ADAL" clId="{4CBE23F9-C8E6-4C37-B105-84FCD3DBA28A}" dt="2021-04-22T06:48:07.805" v="54" actId="20577"/>
        <pc:sldMkLst>
          <pc:docMk/>
          <pc:sldMk cId="1667945532" sldId="306"/>
        </pc:sldMkLst>
        <pc:spChg chg="mod">
          <ac:chgData name="Meyer Raphael (PAR-ES)" userId="79615dfe-ed48-4e74-a40f-4f7b034c1c27" providerId="ADAL" clId="{4CBE23F9-C8E6-4C37-B105-84FCD3DBA28A}" dt="2021-04-22T06:47:34.652" v="42" actId="20577"/>
          <ac:spMkLst>
            <pc:docMk/>
            <pc:sldMk cId="1667945532" sldId="306"/>
            <ac:spMk id="8" creationId="{5857C2A1-2CB8-4D4A-AEFD-E809BF73D04F}"/>
          </ac:spMkLst>
        </pc:spChg>
        <pc:spChg chg="mod">
          <ac:chgData name="Meyer Raphael (PAR-ES)" userId="79615dfe-ed48-4e74-a40f-4f7b034c1c27" providerId="ADAL" clId="{4CBE23F9-C8E6-4C37-B105-84FCD3DBA28A}" dt="2021-04-22T06:47:48.734" v="46" actId="20577"/>
          <ac:spMkLst>
            <pc:docMk/>
            <pc:sldMk cId="1667945532" sldId="306"/>
            <ac:spMk id="27" creationId="{46A6B042-39EE-4A58-BBAA-13D52264B660}"/>
          </ac:spMkLst>
        </pc:spChg>
        <pc:spChg chg="mod">
          <ac:chgData name="Meyer Raphael (PAR-ES)" userId="79615dfe-ed48-4e74-a40f-4f7b034c1c27" providerId="ADAL" clId="{4CBE23F9-C8E6-4C37-B105-84FCD3DBA28A}" dt="2021-04-22T06:47:18.961" v="40" actId="1076"/>
          <ac:spMkLst>
            <pc:docMk/>
            <pc:sldMk cId="1667945532" sldId="306"/>
            <ac:spMk id="28" creationId="{4492A3CD-6943-423D-BFEC-8129889E8B6F}"/>
          </ac:spMkLst>
        </pc:spChg>
        <pc:spChg chg="mod">
          <ac:chgData name="Meyer Raphael (PAR-ES)" userId="79615dfe-ed48-4e74-a40f-4f7b034c1c27" providerId="ADAL" clId="{4CBE23F9-C8E6-4C37-B105-84FCD3DBA28A}" dt="2021-04-22T06:48:07.805" v="54" actId="20577"/>
          <ac:spMkLst>
            <pc:docMk/>
            <pc:sldMk cId="1667945532" sldId="306"/>
            <ac:spMk id="31" creationId="{7491A47D-CAD4-478D-8F3A-296FFCB799F9}"/>
          </ac:spMkLst>
        </pc:spChg>
      </pc:sldChg>
      <pc:sldChg chg="del">
        <pc:chgData name="Meyer Raphael (PAR-ES)" userId="79615dfe-ed48-4e74-a40f-4f7b034c1c27" providerId="ADAL" clId="{4CBE23F9-C8E6-4C37-B105-84FCD3DBA28A}" dt="2021-04-22T06:49:45.111" v="68" actId="2696"/>
        <pc:sldMkLst>
          <pc:docMk/>
          <pc:sldMk cId="3784104885" sldId="346"/>
        </pc:sldMkLst>
      </pc:sldChg>
      <pc:sldChg chg="del">
        <pc:chgData name="Meyer Raphael (PAR-ES)" userId="79615dfe-ed48-4e74-a40f-4f7b034c1c27" providerId="ADAL" clId="{4CBE23F9-C8E6-4C37-B105-84FCD3DBA28A}" dt="2021-04-22T06:51:26.178" v="81" actId="2696"/>
        <pc:sldMkLst>
          <pc:docMk/>
          <pc:sldMk cId="502819407" sldId="347"/>
        </pc:sldMkLst>
      </pc:sldChg>
      <pc:sldChg chg="addSp delSp modSp add mod ord">
        <pc:chgData name="Meyer Raphael (PAR-ES)" userId="79615dfe-ed48-4e74-a40f-4f7b034c1c27" providerId="ADAL" clId="{4CBE23F9-C8E6-4C37-B105-84FCD3DBA28A}" dt="2021-04-22T06:50:07.336" v="71"/>
        <pc:sldMkLst>
          <pc:docMk/>
          <pc:sldMk cId="3794750395" sldId="348"/>
        </pc:sldMkLst>
        <pc:spChg chg="mod">
          <ac:chgData name="Meyer Raphael (PAR-ES)" userId="79615dfe-ed48-4e74-a40f-4f7b034c1c27" providerId="ADAL" clId="{4CBE23F9-C8E6-4C37-B105-84FCD3DBA28A}" dt="2021-04-22T06:49:05.323" v="63"/>
          <ac:spMkLst>
            <pc:docMk/>
            <pc:sldMk cId="3794750395" sldId="348"/>
            <ac:spMk id="2" creationId="{A2DC317F-F1F4-4624-8FC1-3B68C1DBB3DA}"/>
          </ac:spMkLst>
        </pc:spChg>
        <pc:spChg chg="del">
          <ac:chgData name="Meyer Raphael (PAR-ES)" userId="79615dfe-ed48-4e74-a40f-4f7b034c1c27" providerId="ADAL" clId="{4CBE23F9-C8E6-4C37-B105-84FCD3DBA28A}" dt="2021-04-22T06:48:42.423" v="61" actId="478"/>
          <ac:spMkLst>
            <pc:docMk/>
            <pc:sldMk cId="3794750395" sldId="348"/>
            <ac:spMk id="7" creationId="{BA3F9A72-0541-4D1F-8CD8-1C2B8074FA1B}"/>
          </ac:spMkLst>
        </pc:spChg>
        <pc:spChg chg="mod">
          <ac:chgData name="Meyer Raphael (PAR-ES)" userId="79615dfe-ed48-4e74-a40f-4f7b034c1c27" providerId="ADAL" clId="{4CBE23F9-C8E6-4C37-B105-84FCD3DBA28A}" dt="2021-04-22T06:49:23.982" v="66" actId="14100"/>
          <ac:spMkLst>
            <pc:docMk/>
            <pc:sldMk cId="3794750395" sldId="348"/>
            <ac:spMk id="8" creationId="{5857C2A1-2CB8-4D4A-AEFD-E809BF73D04F}"/>
          </ac:spMkLst>
        </pc:spChg>
        <pc:spChg chg="del">
          <ac:chgData name="Meyer Raphael (PAR-ES)" userId="79615dfe-ed48-4e74-a40f-4f7b034c1c27" providerId="ADAL" clId="{4CBE23F9-C8E6-4C37-B105-84FCD3DBA28A}" dt="2021-04-22T06:48:42.423" v="61" actId="478"/>
          <ac:spMkLst>
            <pc:docMk/>
            <pc:sldMk cId="3794750395" sldId="348"/>
            <ac:spMk id="9" creationId="{B6990B61-32B2-4ADC-BF01-EDF7B4080F97}"/>
          </ac:spMkLst>
        </pc:spChg>
        <pc:spChg chg="mod">
          <ac:chgData name="Meyer Raphael (PAR-ES)" userId="79615dfe-ed48-4e74-a40f-4f7b034c1c27" providerId="ADAL" clId="{4CBE23F9-C8E6-4C37-B105-84FCD3DBA28A}" dt="2021-04-22T06:49:13.419" v="64"/>
          <ac:spMkLst>
            <pc:docMk/>
            <pc:sldMk cId="3794750395" sldId="348"/>
            <ac:spMk id="10" creationId="{077DFD58-E5EE-4B68-9325-D935DB04DD40}"/>
          </ac:spMkLst>
        </pc:spChg>
        <pc:spChg chg="del">
          <ac:chgData name="Meyer Raphael (PAR-ES)" userId="79615dfe-ed48-4e74-a40f-4f7b034c1c27" providerId="ADAL" clId="{4CBE23F9-C8E6-4C37-B105-84FCD3DBA28A}" dt="2021-04-22T06:48:42.423" v="61" actId="478"/>
          <ac:spMkLst>
            <pc:docMk/>
            <pc:sldMk cId="3794750395" sldId="348"/>
            <ac:spMk id="17" creationId="{785E740C-F94A-4208-8DFD-63A603C16577}"/>
          </ac:spMkLst>
        </pc:spChg>
        <pc:spChg chg="add mod">
          <ac:chgData name="Meyer Raphael (PAR-ES)" userId="79615dfe-ed48-4e74-a40f-4f7b034c1c27" providerId="ADAL" clId="{4CBE23F9-C8E6-4C37-B105-84FCD3DBA28A}" dt="2021-04-22T06:48:55.252" v="62"/>
          <ac:spMkLst>
            <pc:docMk/>
            <pc:sldMk cId="3794750395" sldId="348"/>
            <ac:spMk id="21" creationId="{3FE6CB08-DCA1-458E-A8F3-DBCC83F762F4}"/>
          </ac:spMkLst>
        </pc:spChg>
        <pc:spChg chg="add mod">
          <ac:chgData name="Meyer Raphael (PAR-ES)" userId="79615dfe-ed48-4e74-a40f-4f7b034c1c27" providerId="ADAL" clId="{4CBE23F9-C8E6-4C37-B105-84FCD3DBA28A}" dt="2021-04-22T06:48:55.252" v="62"/>
          <ac:spMkLst>
            <pc:docMk/>
            <pc:sldMk cId="3794750395" sldId="348"/>
            <ac:spMk id="22" creationId="{B414B5C7-1B5D-42D8-B234-E44D520961F2}"/>
          </ac:spMkLst>
        </pc:spChg>
        <pc:spChg chg="add mod">
          <ac:chgData name="Meyer Raphael (PAR-ES)" userId="79615dfe-ed48-4e74-a40f-4f7b034c1c27" providerId="ADAL" clId="{4CBE23F9-C8E6-4C37-B105-84FCD3DBA28A}" dt="2021-04-22T06:48:55.252" v="62"/>
          <ac:spMkLst>
            <pc:docMk/>
            <pc:sldMk cId="3794750395" sldId="348"/>
            <ac:spMk id="23" creationId="{797933D9-1ADD-4C56-9A1F-5805185D5FB3}"/>
          </ac:spMkLst>
        </pc:spChg>
        <pc:spChg chg="add mod">
          <ac:chgData name="Meyer Raphael (PAR-ES)" userId="79615dfe-ed48-4e74-a40f-4f7b034c1c27" providerId="ADAL" clId="{4CBE23F9-C8E6-4C37-B105-84FCD3DBA28A}" dt="2021-04-22T06:48:55.252" v="62"/>
          <ac:spMkLst>
            <pc:docMk/>
            <pc:sldMk cId="3794750395" sldId="348"/>
            <ac:spMk id="25" creationId="{FC07B857-4CD8-4E21-A1D6-54E103DA2404}"/>
          </ac:spMkLst>
        </pc:spChg>
        <pc:spChg chg="del">
          <ac:chgData name="Meyer Raphael (PAR-ES)" userId="79615dfe-ed48-4e74-a40f-4f7b034c1c27" providerId="ADAL" clId="{4CBE23F9-C8E6-4C37-B105-84FCD3DBA28A}" dt="2021-04-22T06:48:42.423" v="61" actId="478"/>
          <ac:spMkLst>
            <pc:docMk/>
            <pc:sldMk cId="3794750395" sldId="348"/>
            <ac:spMk id="26" creationId="{BFD498B5-D73E-4C8A-9FAF-B3547647538C}"/>
          </ac:spMkLst>
        </pc:spChg>
        <pc:spChg chg="mod">
          <ac:chgData name="Meyer Raphael (PAR-ES)" userId="79615dfe-ed48-4e74-a40f-4f7b034c1c27" providerId="ADAL" clId="{4CBE23F9-C8E6-4C37-B105-84FCD3DBA28A}" dt="2021-04-22T06:49:35.849" v="67"/>
          <ac:spMkLst>
            <pc:docMk/>
            <pc:sldMk cId="3794750395" sldId="348"/>
            <ac:spMk id="27" creationId="{46A6B042-39EE-4A58-BBAA-13D52264B660}"/>
          </ac:spMkLst>
        </pc:spChg>
        <pc:spChg chg="add del mod">
          <ac:chgData name="Meyer Raphael (PAR-ES)" userId="79615dfe-ed48-4e74-a40f-4f7b034c1c27" providerId="ADAL" clId="{4CBE23F9-C8E6-4C37-B105-84FCD3DBA28A}" dt="2021-04-22T06:50:07.336" v="71"/>
          <ac:spMkLst>
            <pc:docMk/>
            <pc:sldMk cId="3794750395" sldId="348"/>
            <ac:spMk id="33" creationId="{57C51D98-9777-41F0-9E85-CBC2977C4FE0}"/>
          </ac:spMkLst>
        </pc:spChg>
        <pc:spChg chg="add del mod">
          <ac:chgData name="Meyer Raphael (PAR-ES)" userId="79615dfe-ed48-4e74-a40f-4f7b034c1c27" providerId="ADAL" clId="{4CBE23F9-C8E6-4C37-B105-84FCD3DBA28A}" dt="2021-04-22T06:50:07.336" v="71"/>
          <ac:spMkLst>
            <pc:docMk/>
            <pc:sldMk cId="3794750395" sldId="348"/>
            <ac:spMk id="36" creationId="{E4B5B6FE-D4FA-4D05-92AE-F94E7DD5EBEF}"/>
          </ac:spMkLst>
        </pc:spChg>
        <pc:spChg chg="add del mod">
          <ac:chgData name="Meyer Raphael (PAR-ES)" userId="79615dfe-ed48-4e74-a40f-4f7b034c1c27" providerId="ADAL" clId="{4CBE23F9-C8E6-4C37-B105-84FCD3DBA28A}" dt="2021-04-22T06:50:07.336" v="71"/>
          <ac:spMkLst>
            <pc:docMk/>
            <pc:sldMk cId="3794750395" sldId="348"/>
            <ac:spMk id="37" creationId="{1E8D3532-0AA1-4325-B895-B990AFFD34B7}"/>
          </ac:spMkLst>
        </pc:spChg>
        <pc:spChg chg="add del mod">
          <ac:chgData name="Meyer Raphael (PAR-ES)" userId="79615dfe-ed48-4e74-a40f-4f7b034c1c27" providerId="ADAL" clId="{4CBE23F9-C8E6-4C37-B105-84FCD3DBA28A}" dt="2021-04-22T06:50:07.336" v="71"/>
          <ac:spMkLst>
            <pc:docMk/>
            <pc:sldMk cId="3794750395" sldId="348"/>
            <ac:spMk id="38" creationId="{1B7488BE-69AD-45CF-81B3-201225A71794}"/>
          </ac:spMkLst>
        </pc:spChg>
      </pc:sldChg>
      <pc:sldChg chg="addSp delSp modSp add mod ord">
        <pc:chgData name="Meyer Raphael (PAR-ES)" userId="79615dfe-ed48-4e74-a40f-4f7b034c1c27" providerId="ADAL" clId="{4CBE23F9-C8E6-4C37-B105-84FCD3DBA28A}" dt="2021-04-22T06:51:16.738" v="80" actId="14100"/>
        <pc:sldMkLst>
          <pc:docMk/>
          <pc:sldMk cId="1552181785" sldId="349"/>
        </pc:sldMkLst>
        <pc:spChg chg="mod">
          <ac:chgData name="Meyer Raphael (PAR-ES)" userId="79615dfe-ed48-4e74-a40f-4f7b034c1c27" providerId="ADAL" clId="{4CBE23F9-C8E6-4C37-B105-84FCD3DBA28A}" dt="2021-04-22T06:50:20.183" v="73"/>
          <ac:spMkLst>
            <pc:docMk/>
            <pc:sldMk cId="1552181785" sldId="349"/>
            <ac:spMk id="2" creationId="{A2DC317F-F1F4-4624-8FC1-3B68C1DBB3DA}"/>
          </ac:spMkLst>
        </pc:spChg>
        <pc:spChg chg="del">
          <ac:chgData name="Meyer Raphael (PAR-ES)" userId="79615dfe-ed48-4e74-a40f-4f7b034c1c27" providerId="ADAL" clId="{4CBE23F9-C8E6-4C37-B105-84FCD3DBA28A}" dt="2021-04-22T06:49:54.689" v="69" actId="478"/>
          <ac:spMkLst>
            <pc:docMk/>
            <pc:sldMk cId="1552181785" sldId="349"/>
            <ac:spMk id="7" creationId="{BA3F9A72-0541-4D1F-8CD8-1C2B8074FA1B}"/>
          </ac:spMkLst>
        </pc:spChg>
        <pc:spChg chg="mod">
          <ac:chgData name="Meyer Raphael (PAR-ES)" userId="79615dfe-ed48-4e74-a40f-4f7b034c1c27" providerId="ADAL" clId="{4CBE23F9-C8E6-4C37-B105-84FCD3DBA28A}" dt="2021-04-22T06:50:38.326" v="76" actId="14100"/>
          <ac:spMkLst>
            <pc:docMk/>
            <pc:sldMk cId="1552181785" sldId="349"/>
            <ac:spMk id="8" creationId="{5857C2A1-2CB8-4D4A-AEFD-E809BF73D04F}"/>
          </ac:spMkLst>
        </pc:spChg>
        <pc:spChg chg="del">
          <ac:chgData name="Meyer Raphael (PAR-ES)" userId="79615dfe-ed48-4e74-a40f-4f7b034c1c27" providerId="ADAL" clId="{4CBE23F9-C8E6-4C37-B105-84FCD3DBA28A}" dt="2021-04-22T06:49:54.689" v="69" actId="478"/>
          <ac:spMkLst>
            <pc:docMk/>
            <pc:sldMk cId="1552181785" sldId="349"/>
            <ac:spMk id="9" creationId="{B6990B61-32B2-4ADC-BF01-EDF7B4080F97}"/>
          </ac:spMkLst>
        </pc:spChg>
        <pc:spChg chg="mod">
          <ac:chgData name="Meyer Raphael (PAR-ES)" userId="79615dfe-ed48-4e74-a40f-4f7b034c1c27" providerId="ADAL" clId="{4CBE23F9-C8E6-4C37-B105-84FCD3DBA28A}" dt="2021-04-22T06:50:28.829" v="74"/>
          <ac:spMkLst>
            <pc:docMk/>
            <pc:sldMk cId="1552181785" sldId="349"/>
            <ac:spMk id="10" creationId="{077DFD58-E5EE-4B68-9325-D935DB04DD40}"/>
          </ac:spMkLst>
        </pc:spChg>
        <pc:spChg chg="del">
          <ac:chgData name="Meyer Raphael (PAR-ES)" userId="79615dfe-ed48-4e74-a40f-4f7b034c1c27" providerId="ADAL" clId="{4CBE23F9-C8E6-4C37-B105-84FCD3DBA28A}" dt="2021-04-22T06:49:54.689" v="69" actId="478"/>
          <ac:spMkLst>
            <pc:docMk/>
            <pc:sldMk cId="1552181785" sldId="349"/>
            <ac:spMk id="17" creationId="{785E740C-F94A-4208-8DFD-63A603C16577}"/>
          </ac:spMkLst>
        </pc:spChg>
        <pc:spChg chg="add mod">
          <ac:chgData name="Meyer Raphael (PAR-ES)" userId="79615dfe-ed48-4e74-a40f-4f7b034c1c27" providerId="ADAL" clId="{4CBE23F9-C8E6-4C37-B105-84FCD3DBA28A}" dt="2021-04-22T06:50:10.223" v="72"/>
          <ac:spMkLst>
            <pc:docMk/>
            <pc:sldMk cId="1552181785" sldId="349"/>
            <ac:spMk id="21" creationId="{420947D5-36E6-475F-9F30-99CD5F27038F}"/>
          </ac:spMkLst>
        </pc:spChg>
        <pc:spChg chg="add mod">
          <ac:chgData name="Meyer Raphael (PAR-ES)" userId="79615dfe-ed48-4e74-a40f-4f7b034c1c27" providerId="ADAL" clId="{4CBE23F9-C8E6-4C37-B105-84FCD3DBA28A}" dt="2021-04-22T06:50:10.223" v="72"/>
          <ac:spMkLst>
            <pc:docMk/>
            <pc:sldMk cId="1552181785" sldId="349"/>
            <ac:spMk id="22" creationId="{0028B97E-602F-43F2-979D-8212934922D2}"/>
          </ac:spMkLst>
        </pc:spChg>
        <pc:spChg chg="add mod">
          <ac:chgData name="Meyer Raphael (PAR-ES)" userId="79615dfe-ed48-4e74-a40f-4f7b034c1c27" providerId="ADAL" clId="{4CBE23F9-C8E6-4C37-B105-84FCD3DBA28A}" dt="2021-04-22T06:50:10.223" v="72"/>
          <ac:spMkLst>
            <pc:docMk/>
            <pc:sldMk cId="1552181785" sldId="349"/>
            <ac:spMk id="23" creationId="{3DDDADA2-02D8-4DAF-8382-3EA480520E90}"/>
          </ac:spMkLst>
        </pc:spChg>
        <pc:spChg chg="add mod">
          <ac:chgData name="Meyer Raphael (PAR-ES)" userId="79615dfe-ed48-4e74-a40f-4f7b034c1c27" providerId="ADAL" clId="{4CBE23F9-C8E6-4C37-B105-84FCD3DBA28A}" dt="2021-04-22T06:50:10.223" v="72"/>
          <ac:spMkLst>
            <pc:docMk/>
            <pc:sldMk cId="1552181785" sldId="349"/>
            <ac:spMk id="25" creationId="{25D8EC74-960F-49AE-A9A7-029FA6C0D220}"/>
          </ac:spMkLst>
        </pc:spChg>
        <pc:spChg chg="del">
          <ac:chgData name="Meyer Raphael (PAR-ES)" userId="79615dfe-ed48-4e74-a40f-4f7b034c1c27" providerId="ADAL" clId="{4CBE23F9-C8E6-4C37-B105-84FCD3DBA28A}" dt="2021-04-22T06:49:54.689" v="69" actId="478"/>
          <ac:spMkLst>
            <pc:docMk/>
            <pc:sldMk cId="1552181785" sldId="349"/>
            <ac:spMk id="26" creationId="{BFD498B5-D73E-4C8A-9FAF-B3547647538C}"/>
          </ac:spMkLst>
        </pc:spChg>
        <pc:spChg chg="mod">
          <ac:chgData name="Meyer Raphael (PAR-ES)" userId="79615dfe-ed48-4e74-a40f-4f7b034c1c27" providerId="ADAL" clId="{4CBE23F9-C8E6-4C37-B105-84FCD3DBA28A}" dt="2021-04-22T06:51:16.738" v="80" actId="14100"/>
          <ac:spMkLst>
            <pc:docMk/>
            <pc:sldMk cId="1552181785" sldId="349"/>
            <ac:spMk id="27" creationId="{46A6B042-39EE-4A58-BBAA-13D52264B660}"/>
          </ac:spMkLst>
        </pc:spChg>
      </pc:sldChg>
    </pc:docChg>
  </pc:docChgLst>
  <pc:docChgLst>
    <pc:chgData name="Meyer Raphael (PAR-ES)" userId="79615dfe-ed48-4e74-a40f-4f7b034c1c27" providerId="ADAL" clId="{BC78E0DC-31C5-48CA-8DD7-8730871B0852}"/>
    <pc:docChg chg="custSel addSld delSld modSld sldOrd">
      <pc:chgData name="Meyer Raphael (PAR-ES)" userId="79615dfe-ed48-4e74-a40f-4f7b034c1c27" providerId="ADAL" clId="{BC78E0DC-31C5-48CA-8DD7-8730871B0852}" dt="2021-02-18T08:25:41.061" v="300" actId="2696"/>
      <pc:docMkLst>
        <pc:docMk/>
      </pc:docMkLst>
      <pc:sldChg chg="addSp delSp modSp mod">
        <pc:chgData name="Meyer Raphael (PAR-ES)" userId="79615dfe-ed48-4e74-a40f-4f7b034c1c27" providerId="ADAL" clId="{BC78E0DC-31C5-48CA-8DD7-8730871B0852}" dt="2021-02-18T08:17:57.668" v="166" actId="552"/>
        <pc:sldMkLst>
          <pc:docMk/>
          <pc:sldMk cId="1667945532" sldId="306"/>
        </pc:sldMkLst>
        <pc:spChg chg="mod">
          <ac:chgData name="Meyer Raphael (PAR-ES)" userId="79615dfe-ed48-4e74-a40f-4f7b034c1c27" providerId="ADAL" clId="{BC78E0DC-31C5-48CA-8DD7-8730871B0852}" dt="2021-02-18T08:06:41.629" v="29" actId="20577"/>
          <ac:spMkLst>
            <pc:docMk/>
            <pc:sldMk cId="1667945532" sldId="306"/>
            <ac:spMk id="8" creationId="{5857C2A1-2CB8-4D4A-AEFD-E809BF73D04F}"/>
          </ac:spMkLst>
        </pc:spChg>
        <pc:spChg chg="mod">
          <ac:chgData name="Meyer Raphael (PAR-ES)" userId="79615dfe-ed48-4e74-a40f-4f7b034c1c27" providerId="ADAL" clId="{BC78E0DC-31C5-48CA-8DD7-8730871B0852}" dt="2021-02-18T08:06:31.557" v="27" actId="20577"/>
          <ac:spMkLst>
            <pc:docMk/>
            <pc:sldMk cId="1667945532" sldId="306"/>
            <ac:spMk id="27" creationId="{46A6B042-39EE-4A58-BBAA-13D52264B660}"/>
          </ac:spMkLst>
        </pc:spChg>
        <pc:spChg chg="mod">
          <ac:chgData name="Meyer Raphael (PAR-ES)" userId="79615dfe-ed48-4e74-a40f-4f7b034c1c27" providerId="ADAL" clId="{BC78E0DC-31C5-48CA-8DD7-8730871B0852}" dt="2021-02-18T08:07:01.573" v="37" actId="20577"/>
          <ac:spMkLst>
            <pc:docMk/>
            <pc:sldMk cId="1667945532" sldId="306"/>
            <ac:spMk id="31" creationId="{7491A47D-CAD4-478D-8F3A-296FFCB799F9}"/>
          </ac:spMkLst>
        </pc:spChg>
        <pc:spChg chg="mod">
          <ac:chgData name="Meyer Raphael (PAR-ES)" userId="79615dfe-ed48-4e74-a40f-4f7b034c1c27" providerId="ADAL" clId="{BC78E0DC-31C5-48CA-8DD7-8730871B0852}" dt="2021-02-18T08:03:49.592" v="3" actId="20577"/>
          <ac:spMkLst>
            <pc:docMk/>
            <pc:sldMk cId="1667945532" sldId="306"/>
            <ac:spMk id="32" creationId="{E65DDA4F-7190-4D5B-B875-6818D18C9F6E}"/>
          </ac:spMkLst>
        </pc:spChg>
        <pc:spChg chg="add mod">
          <ac:chgData name="Meyer Raphael (PAR-ES)" userId="79615dfe-ed48-4e74-a40f-4f7b034c1c27" providerId="ADAL" clId="{BC78E0DC-31C5-48CA-8DD7-8730871B0852}" dt="2021-02-18T08:17:57.668" v="166" actId="552"/>
          <ac:spMkLst>
            <pc:docMk/>
            <pc:sldMk cId="1667945532" sldId="306"/>
            <ac:spMk id="33" creationId="{9EBB3871-416B-408E-B57A-A89D014D2D8E}"/>
          </ac:spMkLst>
        </pc:spChg>
        <pc:spChg chg="del mod">
          <ac:chgData name="Meyer Raphael (PAR-ES)" userId="79615dfe-ed48-4e74-a40f-4f7b034c1c27" providerId="ADAL" clId="{BC78E0DC-31C5-48CA-8DD7-8730871B0852}" dt="2021-02-18T08:17:49.673" v="165" actId="478"/>
          <ac:spMkLst>
            <pc:docMk/>
            <pc:sldMk cId="1667945532" sldId="306"/>
            <ac:spMk id="36" creationId="{27098D61-DF6B-46BC-A4A9-43CB29665BFF}"/>
          </ac:spMkLst>
        </pc:spChg>
        <pc:spChg chg="mod">
          <ac:chgData name="Meyer Raphael (PAR-ES)" userId="79615dfe-ed48-4e74-a40f-4f7b034c1c27" providerId="ADAL" clId="{BC78E0DC-31C5-48CA-8DD7-8730871B0852}" dt="2021-02-18T08:17:57.668" v="166" actId="552"/>
          <ac:spMkLst>
            <pc:docMk/>
            <pc:sldMk cId="1667945532" sldId="306"/>
            <ac:spMk id="37" creationId="{16628D91-C37D-41C8-A84A-DDEB3E2C1246}"/>
          </ac:spMkLst>
        </pc:spChg>
      </pc:sldChg>
      <pc:sldChg chg="del">
        <pc:chgData name="Meyer Raphael (PAR-ES)" userId="79615dfe-ed48-4e74-a40f-4f7b034c1c27" providerId="ADAL" clId="{BC78E0DC-31C5-48CA-8DD7-8730871B0852}" dt="2021-02-18T08:20:14.623" v="178" actId="2696"/>
        <pc:sldMkLst>
          <pc:docMk/>
          <pc:sldMk cId="2900013276" sldId="328"/>
        </pc:sldMkLst>
      </pc:sldChg>
      <pc:sldChg chg="del">
        <pc:chgData name="Meyer Raphael (PAR-ES)" userId="79615dfe-ed48-4e74-a40f-4f7b034c1c27" providerId="ADAL" clId="{BC78E0DC-31C5-48CA-8DD7-8730871B0852}" dt="2021-02-18T08:25:41.061" v="300" actId="2696"/>
        <pc:sldMkLst>
          <pc:docMk/>
          <pc:sldMk cId="1718428447" sldId="329"/>
        </pc:sldMkLst>
      </pc:sldChg>
      <pc:sldChg chg="addSp delSp modSp add ord">
        <pc:chgData name="Meyer Raphael (PAR-ES)" userId="79615dfe-ed48-4e74-a40f-4f7b034c1c27" providerId="ADAL" clId="{BC78E0DC-31C5-48CA-8DD7-8730871B0852}" dt="2021-02-18T08:25:23.403" v="299" actId="552"/>
        <pc:sldMkLst>
          <pc:docMk/>
          <pc:sldMk cId="1861201491" sldId="330"/>
        </pc:sldMkLst>
        <pc:spChg chg="mod">
          <ac:chgData name="Meyer Raphael (PAR-ES)" userId="79615dfe-ed48-4e74-a40f-4f7b034c1c27" providerId="ADAL" clId="{BC78E0DC-31C5-48CA-8DD7-8730871B0852}" dt="2021-02-18T08:22:05.626" v="183"/>
          <ac:spMkLst>
            <pc:docMk/>
            <pc:sldMk cId="1861201491" sldId="330"/>
            <ac:spMk id="2" creationId="{A2DC317F-F1F4-4624-8FC1-3B68C1DBB3DA}"/>
          </ac:spMkLst>
        </pc:spChg>
        <pc:spChg chg="del">
          <ac:chgData name="Meyer Raphael (PAR-ES)" userId="79615dfe-ed48-4e74-a40f-4f7b034c1c27" providerId="ADAL" clId="{BC78E0DC-31C5-48CA-8DD7-8730871B0852}" dt="2021-02-18T08:20:39.664" v="179" actId="478"/>
          <ac:spMkLst>
            <pc:docMk/>
            <pc:sldMk cId="1861201491" sldId="330"/>
            <ac:spMk id="7" creationId="{BA3F9A72-0541-4D1F-8CD8-1C2B8074FA1B}"/>
          </ac:spMkLst>
        </pc:spChg>
        <pc:spChg chg="del">
          <ac:chgData name="Meyer Raphael (PAR-ES)" userId="79615dfe-ed48-4e74-a40f-4f7b034c1c27" providerId="ADAL" clId="{BC78E0DC-31C5-48CA-8DD7-8730871B0852}" dt="2021-02-18T08:20:39.664" v="179" actId="478"/>
          <ac:spMkLst>
            <pc:docMk/>
            <pc:sldMk cId="1861201491" sldId="330"/>
            <ac:spMk id="8" creationId="{5857C2A1-2CB8-4D4A-AEFD-E809BF73D04F}"/>
          </ac:spMkLst>
        </pc:spChg>
        <pc:spChg chg="del">
          <ac:chgData name="Meyer Raphael (PAR-ES)" userId="79615dfe-ed48-4e74-a40f-4f7b034c1c27" providerId="ADAL" clId="{BC78E0DC-31C5-48CA-8DD7-8730871B0852}" dt="2021-02-18T08:20:39.664" v="179" actId="478"/>
          <ac:spMkLst>
            <pc:docMk/>
            <pc:sldMk cId="1861201491" sldId="330"/>
            <ac:spMk id="9" creationId="{B6990B61-32B2-4ADC-BF01-EDF7B4080F97}"/>
          </ac:spMkLst>
        </pc:spChg>
        <pc:spChg chg="mod">
          <ac:chgData name="Meyer Raphael (PAR-ES)" userId="79615dfe-ed48-4e74-a40f-4f7b034c1c27" providerId="ADAL" clId="{BC78E0DC-31C5-48CA-8DD7-8730871B0852}" dt="2021-02-18T08:22:14.714" v="184"/>
          <ac:spMkLst>
            <pc:docMk/>
            <pc:sldMk cId="1861201491" sldId="330"/>
            <ac:spMk id="10" creationId="{077DFD58-E5EE-4B68-9325-D935DB04DD40}"/>
          </ac:spMkLst>
        </pc:spChg>
        <pc:spChg chg="del">
          <ac:chgData name="Meyer Raphael (PAR-ES)" userId="79615dfe-ed48-4e74-a40f-4f7b034c1c27" providerId="ADAL" clId="{BC78E0DC-31C5-48CA-8DD7-8730871B0852}" dt="2021-02-18T08:20:39.664" v="179" actId="478"/>
          <ac:spMkLst>
            <pc:docMk/>
            <pc:sldMk cId="1861201491" sldId="330"/>
            <ac:spMk id="17" creationId="{785E740C-F94A-4208-8DFD-63A603C16577}"/>
          </ac:spMkLst>
        </pc:spChg>
        <pc:spChg chg="del">
          <ac:chgData name="Meyer Raphael (PAR-ES)" userId="79615dfe-ed48-4e74-a40f-4f7b034c1c27" providerId="ADAL" clId="{BC78E0DC-31C5-48CA-8DD7-8730871B0852}" dt="2021-02-18T08:20:39.664" v="179" actId="478"/>
          <ac:spMkLst>
            <pc:docMk/>
            <pc:sldMk cId="1861201491" sldId="330"/>
            <ac:spMk id="26" creationId="{BFD498B5-D73E-4C8A-9FAF-B3547647538C}"/>
          </ac:spMkLst>
        </pc:spChg>
        <pc:spChg chg="mod">
          <ac:chgData name="Meyer Raphael (PAR-ES)" userId="79615dfe-ed48-4e74-a40f-4f7b034c1c27" providerId="ADAL" clId="{BC78E0DC-31C5-48CA-8DD7-8730871B0852}" dt="2021-02-18T08:22:31" v="187" actId="14100"/>
          <ac:spMkLst>
            <pc:docMk/>
            <pc:sldMk cId="1861201491" sldId="330"/>
            <ac:spMk id="27" creationId="{46A6B042-39EE-4A58-BBAA-13D52264B660}"/>
          </ac:spMkLst>
        </pc:spChg>
        <pc:spChg chg="del">
          <ac:chgData name="Meyer Raphael (PAR-ES)" userId="79615dfe-ed48-4e74-a40f-4f7b034c1c27" providerId="ADAL" clId="{BC78E0DC-31C5-48CA-8DD7-8730871B0852}" dt="2021-02-18T08:22:51.188" v="190" actId="478"/>
          <ac:spMkLst>
            <pc:docMk/>
            <pc:sldMk cId="1861201491" sldId="330"/>
            <ac:spMk id="33" creationId="{9EBB3871-416B-408E-B57A-A89D014D2D8E}"/>
          </ac:spMkLst>
        </pc:spChg>
        <pc:spChg chg="add mod">
          <ac:chgData name="Meyer Raphael (PAR-ES)" userId="79615dfe-ed48-4e74-a40f-4f7b034c1c27" providerId="ADAL" clId="{BC78E0DC-31C5-48CA-8DD7-8730871B0852}" dt="2021-02-18T08:21:38.819" v="182" actId="20577"/>
          <ac:spMkLst>
            <pc:docMk/>
            <pc:sldMk cId="1861201491" sldId="330"/>
            <ac:spMk id="36" creationId="{019CCEBD-CCD0-4C25-BDBA-42ADD3F60BD3}"/>
          </ac:spMkLst>
        </pc:spChg>
        <pc:spChg chg="del mod">
          <ac:chgData name="Meyer Raphael (PAR-ES)" userId="79615dfe-ed48-4e74-a40f-4f7b034c1c27" providerId="ADAL" clId="{BC78E0DC-31C5-48CA-8DD7-8730871B0852}" dt="2021-02-18T08:22:43.318" v="189" actId="478"/>
          <ac:spMkLst>
            <pc:docMk/>
            <pc:sldMk cId="1861201491" sldId="330"/>
            <ac:spMk id="37" creationId="{16628D91-C37D-41C8-A84A-DDEB3E2C1246}"/>
          </ac:spMkLst>
        </pc:spChg>
        <pc:spChg chg="add">
          <ac:chgData name="Meyer Raphael (PAR-ES)" userId="79615dfe-ed48-4e74-a40f-4f7b034c1c27" providerId="ADAL" clId="{BC78E0DC-31C5-48CA-8DD7-8730871B0852}" dt="2021-02-18T08:20:52.427" v="180"/>
          <ac:spMkLst>
            <pc:docMk/>
            <pc:sldMk cId="1861201491" sldId="330"/>
            <ac:spMk id="38" creationId="{C5DEC9F0-DC62-47FE-AF70-FDC22F6CB4B6}"/>
          </ac:spMkLst>
        </pc:spChg>
        <pc:spChg chg="add">
          <ac:chgData name="Meyer Raphael (PAR-ES)" userId="79615dfe-ed48-4e74-a40f-4f7b034c1c27" providerId="ADAL" clId="{BC78E0DC-31C5-48CA-8DD7-8730871B0852}" dt="2021-02-18T08:20:52.427" v="180"/>
          <ac:spMkLst>
            <pc:docMk/>
            <pc:sldMk cId="1861201491" sldId="330"/>
            <ac:spMk id="39" creationId="{D8D03714-81C3-4A1C-A9F5-2F3F1D3D0572}"/>
          </ac:spMkLst>
        </pc:spChg>
        <pc:spChg chg="add">
          <ac:chgData name="Meyer Raphael (PAR-ES)" userId="79615dfe-ed48-4e74-a40f-4f7b034c1c27" providerId="ADAL" clId="{BC78E0DC-31C5-48CA-8DD7-8730871B0852}" dt="2021-02-18T08:20:52.427" v="180"/>
          <ac:spMkLst>
            <pc:docMk/>
            <pc:sldMk cId="1861201491" sldId="330"/>
            <ac:spMk id="40" creationId="{85FBCE1D-FD06-40AC-94DE-D4D7E9BE4B0C}"/>
          </ac:spMkLst>
        </pc:spChg>
        <pc:spChg chg="add">
          <ac:chgData name="Meyer Raphael (PAR-ES)" userId="79615dfe-ed48-4e74-a40f-4f7b034c1c27" providerId="ADAL" clId="{BC78E0DC-31C5-48CA-8DD7-8730871B0852}" dt="2021-02-18T08:20:52.427" v="180"/>
          <ac:spMkLst>
            <pc:docMk/>
            <pc:sldMk cId="1861201491" sldId="330"/>
            <ac:spMk id="41" creationId="{47044D9C-7715-40D4-BCAE-6828109D5DF0}"/>
          </ac:spMkLst>
        </pc:spChg>
        <pc:spChg chg="add mod">
          <ac:chgData name="Meyer Raphael (PAR-ES)" userId="79615dfe-ed48-4e74-a40f-4f7b034c1c27" providerId="ADAL" clId="{BC78E0DC-31C5-48CA-8DD7-8730871B0852}" dt="2021-02-18T08:25:23.403" v="299" actId="552"/>
          <ac:spMkLst>
            <pc:docMk/>
            <pc:sldMk cId="1861201491" sldId="330"/>
            <ac:spMk id="42" creationId="{47F15649-8108-4CA2-903C-B78AA3E2D53B}"/>
          </ac:spMkLst>
        </pc:spChg>
        <pc:spChg chg="add del mod">
          <ac:chgData name="Meyer Raphael (PAR-ES)" userId="79615dfe-ed48-4e74-a40f-4f7b034c1c27" providerId="ADAL" clId="{BC78E0DC-31C5-48CA-8DD7-8730871B0852}" dt="2021-02-18T08:25:14.871" v="298" actId="478"/>
          <ac:spMkLst>
            <pc:docMk/>
            <pc:sldMk cId="1861201491" sldId="330"/>
            <ac:spMk id="43" creationId="{6B37B674-625E-4AC7-9F27-89CCF8DC86A4}"/>
          </ac:spMkLst>
        </pc:spChg>
        <pc:spChg chg="add mod">
          <ac:chgData name="Meyer Raphael (PAR-ES)" userId="79615dfe-ed48-4e74-a40f-4f7b034c1c27" providerId="ADAL" clId="{BC78E0DC-31C5-48CA-8DD7-8730871B0852}" dt="2021-02-18T08:25:23.403" v="299" actId="552"/>
          <ac:spMkLst>
            <pc:docMk/>
            <pc:sldMk cId="1861201491" sldId="330"/>
            <ac:spMk id="44" creationId="{E25DC2A8-79DA-4BEB-AEB2-0BD5A64FC759}"/>
          </ac:spMkLst>
        </pc:spChg>
      </pc:sldChg>
      <pc:sldChg chg="addSp delSp modSp add ord">
        <pc:chgData name="Meyer Raphael (PAR-ES)" userId="79615dfe-ed48-4e74-a40f-4f7b034c1c27" providerId="ADAL" clId="{BC78E0DC-31C5-48CA-8DD7-8730871B0852}" dt="2021-02-18T08:19:54.206" v="177" actId="20577"/>
        <pc:sldMkLst>
          <pc:docMk/>
          <pc:sldMk cId="1241728994" sldId="331"/>
        </pc:sldMkLst>
        <pc:spChg chg="mod">
          <ac:chgData name="Meyer Raphael (PAR-ES)" userId="79615dfe-ed48-4e74-a40f-4f7b034c1c27" providerId="ADAL" clId="{BC78E0DC-31C5-48CA-8DD7-8730871B0852}" dt="2021-02-18T08:19:18.217" v="173"/>
          <ac:spMkLst>
            <pc:docMk/>
            <pc:sldMk cId="1241728994" sldId="331"/>
            <ac:spMk id="2" creationId="{A2DC317F-F1F4-4624-8FC1-3B68C1DBB3DA}"/>
          </ac:spMkLst>
        </pc:spChg>
        <pc:spChg chg="del">
          <ac:chgData name="Meyer Raphael (PAR-ES)" userId="79615dfe-ed48-4e74-a40f-4f7b034c1c27" providerId="ADAL" clId="{BC78E0DC-31C5-48CA-8DD7-8730871B0852}" dt="2021-02-18T08:18:55.057" v="171" actId="478"/>
          <ac:spMkLst>
            <pc:docMk/>
            <pc:sldMk cId="1241728994" sldId="331"/>
            <ac:spMk id="7" creationId="{BA3F9A72-0541-4D1F-8CD8-1C2B8074FA1B}"/>
          </ac:spMkLst>
        </pc:spChg>
        <pc:spChg chg="del">
          <ac:chgData name="Meyer Raphael (PAR-ES)" userId="79615dfe-ed48-4e74-a40f-4f7b034c1c27" providerId="ADAL" clId="{BC78E0DC-31C5-48CA-8DD7-8730871B0852}" dt="2021-02-18T08:18:55.057" v="171" actId="478"/>
          <ac:spMkLst>
            <pc:docMk/>
            <pc:sldMk cId="1241728994" sldId="331"/>
            <ac:spMk id="8" creationId="{5857C2A1-2CB8-4D4A-AEFD-E809BF73D04F}"/>
          </ac:spMkLst>
        </pc:spChg>
        <pc:spChg chg="del">
          <ac:chgData name="Meyer Raphael (PAR-ES)" userId="79615dfe-ed48-4e74-a40f-4f7b034c1c27" providerId="ADAL" clId="{BC78E0DC-31C5-48CA-8DD7-8730871B0852}" dt="2021-02-18T08:18:55.057" v="171" actId="478"/>
          <ac:spMkLst>
            <pc:docMk/>
            <pc:sldMk cId="1241728994" sldId="331"/>
            <ac:spMk id="9" creationId="{B6990B61-32B2-4ADC-BF01-EDF7B4080F97}"/>
          </ac:spMkLst>
        </pc:spChg>
        <pc:spChg chg="mod">
          <ac:chgData name="Meyer Raphael (PAR-ES)" userId="79615dfe-ed48-4e74-a40f-4f7b034c1c27" providerId="ADAL" clId="{BC78E0DC-31C5-48CA-8DD7-8730871B0852}" dt="2021-02-18T08:19:25.980" v="174"/>
          <ac:spMkLst>
            <pc:docMk/>
            <pc:sldMk cId="1241728994" sldId="331"/>
            <ac:spMk id="10" creationId="{077DFD58-E5EE-4B68-9325-D935DB04DD40}"/>
          </ac:spMkLst>
        </pc:spChg>
        <pc:spChg chg="del">
          <ac:chgData name="Meyer Raphael (PAR-ES)" userId="79615dfe-ed48-4e74-a40f-4f7b034c1c27" providerId="ADAL" clId="{BC78E0DC-31C5-48CA-8DD7-8730871B0852}" dt="2021-02-18T08:18:55.057" v="171" actId="478"/>
          <ac:spMkLst>
            <pc:docMk/>
            <pc:sldMk cId="1241728994" sldId="331"/>
            <ac:spMk id="17" creationId="{785E740C-F94A-4208-8DFD-63A603C16577}"/>
          </ac:spMkLst>
        </pc:spChg>
        <pc:spChg chg="del">
          <ac:chgData name="Meyer Raphael (PAR-ES)" userId="79615dfe-ed48-4e74-a40f-4f7b034c1c27" providerId="ADAL" clId="{BC78E0DC-31C5-48CA-8DD7-8730871B0852}" dt="2021-02-18T08:18:55.057" v="171" actId="478"/>
          <ac:spMkLst>
            <pc:docMk/>
            <pc:sldMk cId="1241728994" sldId="331"/>
            <ac:spMk id="26" creationId="{BFD498B5-D73E-4C8A-9FAF-B3547647538C}"/>
          </ac:spMkLst>
        </pc:spChg>
        <pc:spChg chg="mod">
          <ac:chgData name="Meyer Raphael (PAR-ES)" userId="79615dfe-ed48-4e74-a40f-4f7b034c1c27" providerId="ADAL" clId="{BC78E0DC-31C5-48CA-8DD7-8730871B0852}" dt="2021-02-18T08:19:38.905" v="175"/>
          <ac:spMkLst>
            <pc:docMk/>
            <pc:sldMk cId="1241728994" sldId="331"/>
            <ac:spMk id="27" creationId="{46A6B042-39EE-4A58-BBAA-13D52264B660}"/>
          </ac:spMkLst>
        </pc:spChg>
        <pc:spChg chg="add mod">
          <ac:chgData name="Meyer Raphael (PAR-ES)" userId="79615dfe-ed48-4e74-a40f-4f7b034c1c27" providerId="ADAL" clId="{BC78E0DC-31C5-48CA-8DD7-8730871B0852}" dt="2021-02-18T08:19:54.206" v="177" actId="20577"/>
          <ac:spMkLst>
            <pc:docMk/>
            <pc:sldMk cId="1241728994" sldId="331"/>
            <ac:spMk id="36" creationId="{33DFBF40-E028-4BE5-A8F8-3C3D31D9C419}"/>
          </ac:spMkLst>
        </pc:spChg>
        <pc:spChg chg="add">
          <ac:chgData name="Meyer Raphael (PAR-ES)" userId="79615dfe-ed48-4e74-a40f-4f7b034c1c27" providerId="ADAL" clId="{BC78E0DC-31C5-48CA-8DD7-8730871B0852}" dt="2021-02-18T08:19:08.053" v="172"/>
          <ac:spMkLst>
            <pc:docMk/>
            <pc:sldMk cId="1241728994" sldId="331"/>
            <ac:spMk id="38" creationId="{8D5C6F6D-7891-46C5-9EEE-AC4359F38786}"/>
          </ac:spMkLst>
        </pc:spChg>
        <pc:spChg chg="add">
          <ac:chgData name="Meyer Raphael (PAR-ES)" userId="79615dfe-ed48-4e74-a40f-4f7b034c1c27" providerId="ADAL" clId="{BC78E0DC-31C5-48CA-8DD7-8730871B0852}" dt="2021-02-18T08:19:08.053" v="172"/>
          <ac:spMkLst>
            <pc:docMk/>
            <pc:sldMk cId="1241728994" sldId="331"/>
            <ac:spMk id="39" creationId="{6DA8F198-5FE1-47D8-9BCF-4BD6AAC6B336}"/>
          </ac:spMkLst>
        </pc:spChg>
        <pc:spChg chg="add">
          <ac:chgData name="Meyer Raphael (PAR-ES)" userId="79615dfe-ed48-4e74-a40f-4f7b034c1c27" providerId="ADAL" clId="{BC78E0DC-31C5-48CA-8DD7-8730871B0852}" dt="2021-02-18T08:19:08.053" v="172"/>
          <ac:spMkLst>
            <pc:docMk/>
            <pc:sldMk cId="1241728994" sldId="331"/>
            <ac:spMk id="40" creationId="{9E456EF7-A6CB-4B58-AD31-BD9D25B969CC}"/>
          </ac:spMkLst>
        </pc:spChg>
        <pc:spChg chg="add">
          <ac:chgData name="Meyer Raphael (PAR-ES)" userId="79615dfe-ed48-4e74-a40f-4f7b034c1c27" providerId="ADAL" clId="{BC78E0DC-31C5-48CA-8DD7-8730871B0852}" dt="2021-02-18T08:19:08.053" v="172"/>
          <ac:spMkLst>
            <pc:docMk/>
            <pc:sldMk cId="1241728994" sldId="331"/>
            <ac:spMk id="41" creationId="{6908FED6-CF40-4DFE-AFA3-C40F851A8131}"/>
          </ac:spMkLst>
        </pc:spChg>
      </pc:sldChg>
    </pc:docChg>
  </pc:docChgLst>
  <pc:docChgLst>
    <pc:chgData name="Meyer Raphael (PAR-ES)" userId="79615dfe-ed48-4e74-a40f-4f7b034c1c27" providerId="ADAL" clId="{7F8D466B-DE03-4F86-BE8A-B275E5E71DB3}"/>
    <pc:docChg chg="modSld">
      <pc:chgData name="Meyer Raphael (PAR-ES)" userId="79615dfe-ed48-4e74-a40f-4f7b034c1c27" providerId="ADAL" clId="{7F8D466B-DE03-4F86-BE8A-B275E5E71DB3}" dt="2021-07-01T09:00:43.208" v="115" actId="1037"/>
      <pc:docMkLst>
        <pc:docMk/>
      </pc:docMkLst>
      <pc:sldChg chg="modSp mod">
        <pc:chgData name="Meyer Raphael (PAR-ES)" userId="79615dfe-ed48-4e74-a40f-4f7b034c1c27" providerId="ADAL" clId="{7F8D466B-DE03-4F86-BE8A-B275E5E71DB3}" dt="2021-07-01T08:57:17.709" v="60" actId="27918"/>
        <pc:sldMkLst>
          <pc:docMk/>
          <pc:sldMk cId="1495152177" sldId="298"/>
        </pc:sldMkLst>
        <pc:spChg chg="mod">
          <ac:chgData name="Meyer Raphael (PAR-ES)" userId="79615dfe-ed48-4e74-a40f-4f7b034c1c27" providerId="ADAL" clId="{7F8D466B-DE03-4F86-BE8A-B275E5E71DB3}" dt="2021-07-01T08:57:02.041" v="58" actId="1037"/>
          <ac:spMkLst>
            <pc:docMk/>
            <pc:sldMk cId="1495152177" sldId="298"/>
            <ac:spMk id="12" creationId="{970D2C07-63A2-4265-B006-56F685FE80A5}"/>
          </ac:spMkLst>
        </pc:spChg>
        <pc:spChg chg="mod">
          <ac:chgData name="Meyer Raphael (PAR-ES)" userId="79615dfe-ed48-4e74-a40f-4f7b034c1c27" providerId="ADAL" clId="{7F8D466B-DE03-4F86-BE8A-B275E5E71DB3}" dt="2021-07-01T08:57:02.041" v="58" actId="1037"/>
          <ac:spMkLst>
            <pc:docMk/>
            <pc:sldMk cId="1495152177" sldId="298"/>
            <ac:spMk id="13" creationId="{93412675-62AA-41D8-997C-4E877ED953A8}"/>
          </ac:spMkLst>
        </pc:spChg>
        <pc:graphicFrameChg chg="modGraphic">
          <ac:chgData name="Meyer Raphael (PAR-ES)" userId="79615dfe-ed48-4e74-a40f-4f7b034c1c27" providerId="ADAL" clId="{7F8D466B-DE03-4F86-BE8A-B275E5E71DB3}" dt="2021-07-01T08:53:02.197" v="25"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7F8D466B-DE03-4F86-BE8A-B275E5E71DB3}" dt="2021-07-01T08:57:02.041" v="58" actId="1037"/>
          <ac:cxnSpMkLst>
            <pc:docMk/>
            <pc:sldMk cId="1495152177" sldId="298"/>
            <ac:cxnSpMk id="8" creationId="{6F3EB9D3-E612-42D9-859B-1905BD876C26}"/>
          </ac:cxnSpMkLst>
        </pc:cxnChg>
      </pc:sldChg>
      <pc:sldChg chg="modSp mod">
        <pc:chgData name="Meyer Raphael (PAR-ES)" userId="79615dfe-ed48-4e74-a40f-4f7b034c1c27" providerId="ADAL" clId="{7F8D466B-DE03-4F86-BE8A-B275E5E71DB3}" dt="2021-07-01T09:00:43.208" v="115" actId="1037"/>
        <pc:sldMkLst>
          <pc:docMk/>
          <pc:sldMk cId="3590012689" sldId="365"/>
        </pc:sldMkLst>
        <pc:spChg chg="mod">
          <ac:chgData name="Meyer Raphael (PAR-ES)" userId="79615dfe-ed48-4e74-a40f-4f7b034c1c27" providerId="ADAL" clId="{7F8D466B-DE03-4F86-BE8A-B275E5E71DB3}" dt="2021-07-01T09:00:43.208" v="115" actId="1037"/>
          <ac:spMkLst>
            <pc:docMk/>
            <pc:sldMk cId="3590012689" sldId="365"/>
            <ac:spMk id="12" creationId="{970D2C07-63A2-4265-B006-56F685FE80A5}"/>
          </ac:spMkLst>
        </pc:spChg>
        <pc:spChg chg="mod">
          <ac:chgData name="Meyer Raphael (PAR-ES)" userId="79615dfe-ed48-4e74-a40f-4f7b034c1c27" providerId="ADAL" clId="{7F8D466B-DE03-4F86-BE8A-B275E5E71DB3}" dt="2021-07-01T09:00:43.208" v="115" actId="1037"/>
          <ac:spMkLst>
            <pc:docMk/>
            <pc:sldMk cId="3590012689" sldId="365"/>
            <ac:spMk id="13" creationId="{93412675-62AA-41D8-997C-4E877ED953A8}"/>
          </ac:spMkLst>
        </pc:spChg>
        <pc:graphicFrameChg chg="mod modGraphic">
          <ac:chgData name="Meyer Raphael (PAR-ES)" userId="79615dfe-ed48-4e74-a40f-4f7b034c1c27" providerId="ADAL" clId="{7F8D466B-DE03-4F86-BE8A-B275E5E71DB3}" dt="2021-07-01T08:56:14.982" v="40"/>
          <ac:graphicFrameMkLst>
            <pc:docMk/>
            <pc:sldMk cId="3590012689" sldId="365"/>
            <ac:graphicFrameMk id="9" creationId="{E1369C63-C4A7-403B-A03F-B004599F910A}"/>
          </ac:graphicFrameMkLst>
        </pc:graphicFrameChg>
        <pc:cxnChg chg="mod">
          <ac:chgData name="Meyer Raphael (PAR-ES)" userId="79615dfe-ed48-4e74-a40f-4f7b034c1c27" providerId="ADAL" clId="{7F8D466B-DE03-4F86-BE8A-B275E5E71DB3}" dt="2021-07-01T09:00:43.208" v="115" actId="1037"/>
          <ac:cxnSpMkLst>
            <pc:docMk/>
            <pc:sldMk cId="3590012689" sldId="365"/>
            <ac:cxnSpMk id="8" creationId="{6F3EB9D3-E612-42D9-859B-1905BD876C26}"/>
          </ac:cxnSpMkLst>
        </pc:cxnChg>
      </pc:sldChg>
      <pc:sldChg chg="modSp mod">
        <pc:chgData name="Meyer Raphael (PAR-ES)" userId="79615dfe-ed48-4e74-a40f-4f7b034c1c27" providerId="ADAL" clId="{7F8D466B-DE03-4F86-BE8A-B275E5E71DB3}" dt="2021-07-01T09:00:22.168" v="99" actId="27918"/>
        <pc:sldMkLst>
          <pc:docMk/>
          <pc:sldMk cId="689864941" sldId="366"/>
        </pc:sldMkLst>
        <pc:spChg chg="mod">
          <ac:chgData name="Meyer Raphael (PAR-ES)" userId="79615dfe-ed48-4e74-a40f-4f7b034c1c27" providerId="ADAL" clId="{7F8D466B-DE03-4F86-BE8A-B275E5E71DB3}" dt="2021-07-01T09:00:01.531" v="94" actId="1037"/>
          <ac:spMkLst>
            <pc:docMk/>
            <pc:sldMk cId="689864941" sldId="366"/>
            <ac:spMk id="12" creationId="{970D2C07-63A2-4265-B006-56F685FE80A5}"/>
          </ac:spMkLst>
        </pc:spChg>
        <pc:spChg chg="mod">
          <ac:chgData name="Meyer Raphael (PAR-ES)" userId="79615dfe-ed48-4e74-a40f-4f7b034c1c27" providerId="ADAL" clId="{7F8D466B-DE03-4F86-BE8A-B275E5E71DB3}" dt="2021-07-01T09:00:01.531" v="94" actId="1037"/>
          <ac:spMkLst>
            <pc:docMk/>
            <pc:sldMk cId="689864941" sldId="366"/>
            <ac:spMk id="13" creationId="{93412675-62AA-41D8-997C-4E877ED953A8}"/>
          </ac:spMkLst>
        </pc:spChg>
        <pc:graphicFrameChg chg="mod modGraphic">
          <ac:chgData name="Meyer Raphael (PAR-ES)" userId="79615dfe-ed48-4e74-a40f-4f7b034c1c27" providerId="ADAL" clId="{7F8D466B-DE03-4F86-BE8A-B275E5E71DB3}" dt="2021-07-01T08:56:21.124" v="41"/>
          <ac:graphicFrameMkLst>
            <pc:docMk/>
            <pc:sldMk cId="689864941" sldId="366"/>
            <ac:graphicFrameMk id="9" creationId="{E1369C63-C4A7-403B-A03F-B004599F910A}"/>
          </ac:graphicFrameMkLst>
        </pc:graphicFrameChg>
        <pc:cxnChg chg="mod">
          <ac:chgData name="Meyer Raphael (PAR-ES)" userId="79615dfe-ed48-4e74-a40f-4f7b034c1c27" providerId="ADAL" clId="{7F8D466B-DE03-4F86-BE8A-B275E5E71DB3}" dt="2021-07-01T09:00:01.531" v="94" actId="1037"/>
          <ac:cxnSpMkLst>
            <pc:docMk/>
            <pc:sldMk cId="689864941" sldId="366"/>
            <ac:cxnSpMk id="8" creationId="{6F3EB9D3-E612-42D9-859B-1905BD876C26}"/>
          </ac:cxnSpMkLst>
        </pc:cxnChg>
      </pc:sldChg>
    </pc:docChg>
  </pc:docChgLst>
  <pc:docChgLst>
    <pc:chgData name="Keller Liliane (PAR-PS)" userId="1f10f474-4ab3-4505-9616-24ced11273de" providerId="ADAL" clId="{8486A8B0-9FE2-4E57-81C8-908DB08B0E52}"/>
    <pc:docChg chg="custSel modSld">
      <pc:chgData name="Keller Liliane (PAR-PS)" userId="1f10f474-4ab3-4505-9616-24ced11273de" providerId="ADAL" clId="{8486A8B0-9FE2-4E57-81C8-908DB08B0E52}" dt="2021-10-18T13:11:36.412" v="0" actId="21"/>
      <pc:docMkLst>
        <pc:docMk/>
      </pc:docMkLst>
      <pc:sldChg chg="delSp mod">
        <pc:chgData name="Keller Liliane (PAR-PS)" userId="1f10f474-4ab3-4505-9616-24ced11273de" providerId="ADAL" clId="{8486A8B0-9FE2-4E57-81C8-908DB08B0E52}" dt="2021-10-18T13:11:36.412" v="0" actId="21"/>
        <pc:sldMkLst>
          <pc:docMk/>
          <pc:sldMk cId="3759573184" sldId="375"/>
        </pc:sldMkLst>
        <pc:graphicFrameChg chg="del">
          <ac:chgData name="Keller Liliane (PAR-PS)" userId="1f10f474-4ab3-4505-9616-24ced11273de" providerId="ADAL" clId="{8486A8B0-9FE2-4E57-81C8-908DB08B0E52}" dt="2021-10-18T13:11:36.412" v="0" actId="21"/>
          <ac:graphicFrameMkLst>
            <pc:docMk/>
            <pc:sldMk cId="3759573184" sldId="375"/>
            <ac:graphicFrameMk id="9" creationId="{E1369C63-C4A7-403B-A03F-B004599F910A}"/>
          </ac:graphicFrameMkLst>
        </pc:graphicFrameChg>
      </pc:sldChg>
    </pc:docChg>
  </pc:docChgLst>
  <pc:docChgLst>
    <pc:chgData name="Meyer Raphael (PAR-ES)" userId="79615dfe-ed48-4e74-a40f-4f7b034c1c27" providerId="ADAL" clId="{F95B8E74-9B48-401B-9B68-CA0D4311E19D}"/>
    <pc:docChg chg="modSld">
      <pc:chgData name="Meyer Raphael (PAR-ES)" userId="79615dfe-ed48-4e74-a40f-4f7b034c1c27" providerId="ADAL" clId="{F95B8E74-9B48-401B-9B68-CA0D4311E19D}" dt="2021-10-08T06:58:14.939" v="58" actId="1038"/>
      <pc:docMkLst>
        <pc:docMk/>
      </pc:docMkLst>
      <pc:sldChg chg="modSp mod">
        <pc:chgData name="Meyer Raphael (PAR-ES)" userId="79615dfe-ed48-4e74-a40f-4f7b034c1c27" providerId="ADAL" clId="{F95B8E74-9B48-401B-9B68-CA0D4311E19D}" dt="2021-10-08T06:57:56.626" v="39" actId="1037"/>
        <pc:sldMkLst>
          <pc:docMk/>
          <pc:sldMk cId="1495152177" sldId="298"/>
        </pc:sldMkLst>
        <pc:spChg chg="mod">
          <ac:chgData name="Meyer Raphael (PAR-ES)" userId="79615dfe-ed48-4e74-a40f-4f7b034c1c27" providerId="ADAL" clId="{F95B8E74-9B48-401B-9B68-CA0D4311E19D}" dt="2021-10-08T06:57:56.626" v="39" actId="1037"/>
          <ac:spMkLst>
            <pc:docMk/>
            <pc:sldMk cId="1495152177" sldId="298"/>
            <ac:spMk id="12" creationId="{970D2C07-63A2-4265-B006-56F685FE80A5}"/>
          </ac:spMkLst>
        </pc:spChg>
        <pc:spChg chg="mod">
          <ac:chgData name="Meyer Raphael (PAR-ES)" userId="79615dfe-ed48-4e74-a40f-4f7b034c1c27" providerId="ADAL" clId="{F95B8E74-9B48-401B-9B68-CA0D4311E19D}" dt="2021-10-08T06:57:56.626" v="39" actId="1037"/>
          <ac:spMkLst>
            <pc:docMk/>
            <pc:sldMk cId="1495152177" sldId="298"/>
            <ac:spMk id="13" creationId="{93412675-62AA-41D8-997C-4E877ED953A8}"/>
          </ac:spMkLst>
        </pc:spChg>
        <pc:graphicFrameChg chg="modGraphic">
          <ac:chgData name="Meyer Raphael (PAR-ES)" userId="79615dfe-ed48-4e74-a40f-4f7b034c1c27" providerId="ADAL" clId="{F95B8E74-9B48-401B-9B68-CA0D4311E19D}" dt="2021-10-08T06:56:49.876" v="26"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F95B8E74-9B48-401B-9B68-CA0D4311E19D}" dt="2021-10-08T06:57:56.626" v="39" actId="1037"/>
          <ac:cxnSpMkLst>
            <pc:docMk/>
            <pc:sldMk cId="1495152177" sldId="298"/>
            <ac:cxnSpMk id="8" creationId="{6F3EB9D3-E612-42D9-859B-1905BD876C26}"/>
          </ac:cxnSpMkLst>
        </pc:cxnChg>
      </pc:sldChg>
      <pc:sldChg chg="modSp mod">
        <pc:chgData name="Meyer Raphael (PAR-ES)" userId="79615dfe-ed48-4e74-a40f-4f7b034c1c27" providerId="ADAL" clId="{F95B8E74-9B48-401B-9B68-CA0D4311E19D}" dt="2021-10-08T06:58:04.889" v="46" actId="1037"/>
        <pc:sldMkLst>
          <pc:docMk/>
          <pc:sldMk cId="3590012689" sldId="365"/>
        </pc:sldMkLst>
        <pc:spChg chg="mod">
          <ac:chgData name="Meyer Raphael (PAR-ES)" userId="79615dfe-ed48-4e74-a40f-4f7b034c1c27" providerId="ADAL" clId="{F95B8E74-9B48-401B-9B68-CA0D4311E19D}" dt="2021-10-08T06:58:04.889" v="46" actId="1037"/>
          <ac:spMkLst>
            <pc:docMk/>
            <pc:sldMk cId="3590012689" sldId="365"/>
            <ac:spMk id="12" creationId="{970D2C07-63A2-4265-B006-56F685FE80A5}"/>
          </ac:spMkLst>
        </pc:spChg>
        <pc:spChg chg="mod">
          <ac:chgData name="Meyer Raphael (PAR-ES)" userId="79615dfe-ed48-4e74-a40f-4f7b034c1c27" providerId="ADAL" clId="{F95B8E74-9B48-401B-9B68-CA0D4311E19D}" dt="2021-10-08T06:58:04.889" v="46" actId="1037"/>
          <ac:spMkLst>
            <pc:docMk/>
            <pc:sldMk cId="3590012689" sldId="365"/>
            <ac:spMk id="13" creationId="{93412675-62AA-41D8-997C-4E877ED953A8}"/>
          </ac:spMkLst>
        </pc:spChg>
        <pc:graphicFrameChg chg="mod modGraphic">
          <ac:chgData name="Meyer Raphael (PAR-ES)" userId="79615dfe-ed48-4e74-a40f-4f7b034c1c27" providerId="ADAL" clId="{F95B8E74-9B48-401B-9B68-CA0D4311E19D}" dt="2021-10-08T06:57:39.743" v="31"/>
          <ac:graphicFrameMkLst>
            <pc:docMk/>
            <pc:sldMk cId="3590012689" sldId="365"/>
            <ac:graphicFrameMk id="9" creationId="{E1369C63-C4A7-403B-A03F-B004599F910A}"/>
          </ac:graphicFrameMkLst>
        </pc:graphicFrameChg>
        <pc:cxnChg chg="mod">
          <ac:chgData name="Meyer Raphael (PAR-ES)" userId="79615dfe-ed48-4e74-a40f-4f7b034c1c27" providerId="ADAL" clId="{F95B8E74-9B48-401B-9B68-CA0D4311E19D}" dt="2021-10-08T06:58:04.889" v="46" actId="1037"/>
          <ac:cxnSpMkLst>
            <pc:docMk/>
            <pc:sldMk cId="3590012689" sldId="365"/>
            <ac:cxnSpMk id="8" creationId="{6F3EB9D3-E612-42D9-859B-1905BD876C26}"/>
          </ac:cxnSpMkLst>
        </pc:cxnChg>
      </pc:sldChg>
      <pc:sldChg chg="modSp mod">
        <pc:chgData name="Meyer Raphael (PAR-ES)" userId="79615dfe-ed48-4e74-a40f-4f7b034c1c27" providerId="ADAL" clId="{F95B8E74-9B48-401B-9B68-CA0D4311E19D}" dt="2021-10-08T06:58:14.939" v="58" actId="1038"/>
        <pc:sldMkLst>
          <pc:docMk/>
          <pc:sldMk cId="689864941" sldId="366"/>
        </pc:sldMkLst>
        <pc:spChg chg="mod">
          <ac:chgData name="Meyer Raphael (PAR-ES)" userId="79615dfe-ed48-4e74-a40f-4f7b034c1c27" providerId="ADAL" clId="{F95B8E74-9B48-401B-9B68-CA0D4311E19D}" dt="2021-10-08T06:58:14.939" v="58" actId="1038"/>
          <ac:spMkLst>
            <pc:docMk/>
            <pc:sldMk cId="689864941" sldId="366"/>
            <ac:spMk id="12" creationId="{970D2C07-63A2-4265-B006-56F685FE80A5}"/>
          </ac:spMkLst>
        </pc:spChg>
        <pc:spChg chg="mod">
          <ac:chgData name="Meyer Raphael (PAR-ES)" userId="79615dfe-ed48-4e74-a40f-4f7b034c1c27" providerId="ADAL" clId="{F95B8E74-9B48-401B-9B68-CA0D4311E19D}" dt="2021-10-08T06:58:14.939" v="58" actId="1038"/>
          <ac:spMkLst>
            <pc:docMk/>
            <pc:sldMk cId="689864941" sldId="366"/>
            <ac:spMk id="13" creationId="{93412675-62AA-41D8-997C-4E877ED953A8}"/>
          </ac:spMkLst>
        </pc:spChg>
        <pc:graphicFrameChg chg="mod modGraphic">
          <ac:chgData name="Meyer Raphael (PAR-ES)" userId="79615dfe-ed48-4e74-a40f-4f7b034c1c27" providerId="ADAL" clId="{F95B8E74-9B48-401B-9B68-CA0D4311E19D}" dt="2021-10-08T06:57:44.737" v="32"/>
          <ac:graphicFrameMkLst>
            <pc:docMk/>
            <pc:sldMk cId="689864941" sldId="366"/>
            <ac:graphicFrameMk id="9" creationId="{E1369C63-C4A7-403B-A03F-B004599F910A}"/>
          </ac:graphicFrameMkLst>
        </pc:graphicFrameChg>
        <pc:cxnChg chg="mod">
          <ac:chgData name="Meyer Raphael (PAR-ES)" userId="79615dfe-ed48-4e74-a40f-4f7b034c1c27" providerId="ADAL" clId="{F95B8E74-9B48-401B-9B68-CA0D4311E19D}" dt="2021-10-08T06:58:14.939" v="58" actId="1038"/>
          <ac:cxnSpMkLst>
            <pc:docMk/>
            <pc:sldMk cId="689864941" sldId="366"/>
            <ac:cxnSpMk id="8" creationId="{6F3EB9D3-E612-42D9-859B-1905BD876C26}"/>
          </ac:cxnSpMkLst>
        </pc:cxnChg>
      </pc:sldChg>
    </pc:docChg>
  </pc:docChgLst>
  <pc:docChgLst>
    <pc:chgData name="Meyer Raphael (PAR-ES)" userId="79615dfe-ed48-4e74-a40f-4f7b034c1c27" providerId="ADAL" clId="{6B72B7AA-64CB-4034-BA81-E3658E7812A5}"/>
    <pc:docChg chg="undo custSel delSld modSld sldOrd">
      <pc:chgData name="Meyer Raphael (PAR-ES)" userId="79615dfe-ed48-4e74-a40f-4f7b034c1c27" providerId="ADAL" clId="{6B72B7AA-64CB-4034-BA81-E3658E7812A5}" dt="2021-10-14T12:06:17.552" v="415" actId="14100"/>
      <pc:docMkLst>
        <pc:docMk/>
      </pc:docMkLst>
      <pc:sldChg chg="ord">
        <pc:chgData name="Meyer Raphael (PAR-ES)" userId="79615dfe-ed48-4e74-a40f-4f7b034c1c27" providerId="ADAL" clId="{6B72B7AA-64CB-4034-BA81-E3658E7812A5}" dt="2021-10-14T09:02:17.036" v="275"/>
        <pc:sldMkLst>
          <pc:docMk/>
          <pc:sldMk cId="3462026173" sldId="370"/>
        </pc:sldMkLst>
      </pc:sldChg>
      <pc:sldChg chg="del ord">
        <pc:chgData name="Meyer Raphael (PAR-ES)" userId="79615dfe-ed48-4e74-a40f-4f7b034c1c27" providerId="ADAL" clId="{6B72B7AA-64CB-4034-BA81-E3658E7812A5}" dt="2021-10-14T09:03:38.157" v="278" actId="47"/>
        <pc:sldMkLst>
          <pc:docMk/>
          <pc:sldMk cId="1259040757" sldId="371"/>
        </pc:sldMkLst>
      </pc:sldChg>
      <pc:sldChg chg="del">
        <pc:chgData name="Meyer Raphael (PAR-ES)" userId="79615dfe-ed48-4e74-a40f-4f7b034c1c27" providerId="ADAL" clId="{6B72B7AA-64CB-4034-BA81-E3658E7812A5}" dt="2021-10-14T09:03:38.157" v="278" actId="47"/>
        <pc:sldMkLst>
          <pc:docMk/>
          <pc:sldMk cId="1661015866" sldId="372"/>
        </pc:sldMkLst>
      </pc:sldChg>
      <pc:sldChg chg="addSp delSp modSp mod">
        <pc:chgData name="Meyer Raphael (PAR-ES)" userId="79615dfe-ed48-4e74-a40f-4f7b034c1c27" providerId="ADAL" clId="{6B72B7AA-64CB-4034-BA81-E3658E7812A5}" dt="2021-10-14T12:06:17.552" v="415" actId="14100"/>
        <pc:sldMkLst>
          <pc:docMk/>
          <pc:sldMk cId="1537997412" sldId="373"/>
        </pc:sldMkLst>
        <pc:spChg chg="add mod">
          <ac:chgData name="Meyer Raphael (PAR-ES)" userId="79615dfe-ed48-4e74-a40f-4f7b034c1c27" providerId="ADAL" clId="{6B72B7AA-64CB-4034-BA81-E3658E7812A5}" dt="2021-10-14T11:41:59.594" v="359" actId="1038"/>
          <ac:spMkLst>
            <pc:docMk/>
            <pc:sldMk cId="1537997412" sldId="373"/>
            <ac:spMk id="2" creationId="{5E8A4EFD-4DC4-43AA-95D5-75F07C9AB845}"/>
          </ac:spMkLst>
        </pc:spChg>
        <pc:spChg chg="mod">
          <ac:chgData name="Meyer Raphael (PAR-ES)" userId="79615dfe-ed48-4e74-a40f-4f7b034c1c27" providerId="ADAL" clId="{6B72B7AA-64CB-4034-BA81-E3658E7812A5}" dt="2021-10-14T11:40:33.481" v="308" actId="1036"/>
          <ac:spMkLst>
            <pc:docMk/>
            <pc:sldMk cId="1537997412" sldId="373"/>
            <ac:spMk id="6" creationId="{8C570F95-0775-4F12-8DDA-DD52CE7241CC}"/>
          </ac:spMkLst>
        </pc:spChg>
        <pc:spChg chg="mod">
          <ac:chgData name="Meyer Raphael (PAR-ES)" userId="79615dfe-ed48-4e74-a40f-4f7b034c1c27" providerId="ADAL" clId="{6B72B7AA-64CB-4034-BA81-E3658E7812A5}" dt="2021-10-14T11:40:33.481" v="308" actId="1036"/>
          <ac:spMkLst>
            <pc:docMk/>
            <pc:sldMk cId="1537997412" sldId="373"/>
            <ac:spMk id="9" creationId="{42AA12ED-4579-4FE5-A07A-BC01B76928FB}"/>
          </ac:spMkLst>
        </pc:spChg>
        <pc:spChg chg="mod">
          <ac:chgData name="Meyer Raphael (PAR-ES)" userId="79615dfe-ed48-4e74-a40f-4f7b034c1c27" providerId="ADAL" clId="{6B72B7AA-64CB-4034-BA81-E3658E7812A5}" dt="2021-10-14T11:40:33.481" v="308" actId="1036"/>
          <ac:spMkLst>
            <pc:docMk/>
            <pc:sldMk cId="1537997412" sldId="373"/>
            <ac:spMk id="12" creationId="{4DA2B71E-2CC2-4C38-BAAB-A71345A07B83}"/>
          </ac:spMkLst>
        </pc:spChg>
        <pc:spChg chg="mod">
          <ac:chgData name="Meyer Raphael (PAR-ES)" userId="79615dfe-ed48-4e74-a40f-4f7b034c1c27" providerId="ADAL" clId="{6B72B7AA-64CB-4034-BA81-E3658E7812A5}" dt="2021-10-14T11:40:33.481" v="308" actId="1036"/>
          <ac:spMkLst>
            <pc:docMk/>
            <pc:sldMk cId="1537997412" sldId="373"/>
            <ac:spMk id="13" creationId="{B946C02A-50DE-42C7-A209-D603829BA4B1}"/>
          </ac:spMkLst>
        </pc:spChg>
        <pc:spChg chg="add mod">
          <ac:chgData name="Meyer Raphael (PAR-ES)" userId="79615dfe-ed48-4e74-a40f-4f7b034c1c27" providerId="ADAL" clId="{6B72B7AA-64CB-4034-BA81-E3658E7812A5}" dt="2021-10-14T11:40:33.481" v="308" actId="1036"/>
          <ac:spMkLst>
            <pc:docMk/>
            <pc:sldMk cId="1537997412" sldId="373"/>
            <ac:spMk id="16" creationId="{12071265-4F7A-4F0C-9EDF-46D776DCEF56}"/>
          </ac:spMkLst>
        </pc:spChg>
        <pc:spChg chg="add mod">
          <ac:chgData name="Meyer Raphael (PAR-ES)" userId="79615dfe-ed48-4e74-a40f-4f7b034c1c27" providerId="ADAL" clId="{6B72B7AA-64CB-4034-BA81-E3658E7812A5}" dt="2021-10-14T11:40:33.481" v="308" actId="1036"/>
          <ac:spMkLst>
            <pc:docMk/>
            <pc:sldMk cId="1537997412" sldId="373"/>
            <ac:spMk id="22" creationId="{B3F5B9B8-EDA8-430F-83AA-59E4DAA4DCA3}"/>
          </ac:spMkLst>
        </pc:spChg>
        <pc:spChg chg="mod">
          <ac:chgData name="Meyer Raphael (PAR-ES)" userId="79615dfe-ed48-4e74-a40f-4f7b034c1c27" providerId="ADAL" clId="{6B72B7AA-64CB-4034-BA81-E3658E7812A5}" dt="2021-10-14T11:40:33.481" v="308" actId="1036"/>
          <ac:spMkLst>
            <pc:docMk/>
            <pc:sldMk cId="1537997412" sldId="373"/>
            <ac:spMk id="24" creationId="{FD07A55C-6879-4E52-B5A8-38679864E2FC}"/>
          </ac:spMkLst>
        </pc:spChg>
        <pc:spChg chg="mod">
          <ac:chgData name="Meyer Raphael (PAR-ES)" userId="79615dfe-ed48-4e74-a40f-4f7b034c1c27" providerId="ADAL" clId="{6B72B7AA-64CB-4034-BA81-E3658E7812A5}" dt="2021-10-14T11:44:43.576" v="388" actId="1036"/>
          <ac:spMkLst>
            <pc:docMk/>
            <pc:sldMk cId="1537997412" sldId="373"/>
            <ac:spMk id="30" creationId="{4F4C31ED-0414-44F1-B84F-EA8394C10C0D}"/>
          </ac:spMkLst>
        </pc:spChg>
        <pc:graphicFrameChg chg="mod">
          <ac:chgData name="Meyer Raphael (PAR-ES)" userId="79615dfe-ed48-4e74-a40f-4f7b034c1c27" providerId="ADAL" clId="{6B72B7AA-64CB-4034-BA81-E3658E7812A5}" dt="2021-10-14T12:00:43.264" v="394" actId="692"/>
          <ac:graphicFrameMkLst>
            <pc:docMk/>
            <pc:sldMk cId="1537997412" sldId="373"/>
            <ac:graphicFrameMk id="10" creationId="{E856299E-9B60-478F-8674-1045505692C4}"/>
          </ac:graphicFrameMkLst>
        </pc:graphicFrameChg>
        <pc:cxnChg chg="add del mod">
          <ac:chgData name="Meyer Raphael (PAR-ES)" userId="79615dfe-ed48-4e74-a40f-4f7b034c1c27" providerId="ADAL" clId="{6B72B7AA-64CB-4034-BA81-E3658E7812A5}" dt="2021-10-14T11:44:50.848" v="389" actId="478"/>
          <ac:cxnSpMkLst>
            <pc:docMk/>
            <pc:sldMk cId="1537997412" sldId="373"/>
            <ac:cxnSpMk id="4" creationId="{1618E749-6E1A-4CDD-BE33-96BC27DA780E}"/>
          </ac:cxnSpMkLst>
        </pc:cxnChg>
        <pc:cxnChg chg="mod">
          <ac:chgData name="Meyer Raphael (PAR-ES)" userId="79615dfe-ed48-4e74-a40f-4f7b034c1c27" providerId="ADAL" clId="{6B72B7AA-64CB-4034-BA81-E3658E7812A5}" dt="2021-10-14T11:40:33.481" v="308" actId="1036"/>
          <ac:cxnSpMkLst>
            <pc:docMk/>
            <pc:sldMk cId="1537997412" sldId="373"/>
            <ac:cxnSpMk id="7" creationId="{D77902D2-9169-4095-AF09-B1A9DB2A7B74}"/>
          </ac:cxnSpMkLst>
        </pc:cxnChg>
        <pc:cxnChg chg="mod">
          <ac:chgData name="Meyer Raphael (PAR-ES)" userId="79615dfe-ed48-4e74-a40f-4f7b034c1c27" providerId="ADAL" clId="{6B72B7AA-64CB-4034-BA81-E3658E7812A5}" dt="2021-10-14T11:40:33.481" v="308" actId="1036"/>
          <ac:cxnSpMkLst>
            <pc:docMk/>
            <pc:sldMk cId="1537997412" sldId="373"/>
            <ac:cxnSpMk id="11" creationId="{A9B79FFE-7EB4-42F9-AF46-169C3E5C72D5}"/>
          </ac:cxnSpMkLst>
        </pc:cxnChg>
        <pc:cxnChg chg="mod">
          <ac:chgData name="Meyer Raphael (PAR-ES)" userId="79615dfe-ed48-4e74-a40f-4f7b034c1c27" providerId="ADAL" clId="{6B72B7AA-64CB-4034-BA81-E3658E7812A5}" dt="2021-10-14T11:46:05.143" v="393" actId="1037"/>
          <ac:cxnSpMkLst>
            <pc:docMk/>
            <pc:sldMk cId="1537997412" sldId="373"/>
            <ac:cxnSpMk id="15" creationId="{0799A6FE-48F2-42FE-8723-6D0DDE6ED073}"/>
          </ac:cxnSpMkLst>
        </pc:cxnChg>
        <pc:cxnChg chg="mod ord">
          <ac:chgData name="Meyer Raphael (PAR-ES)" userId="79615dfe-ed48-4e74-a40f-4f7b034c1c27" providerId="ADAL" clId="{6B72B7AA-64CB-4034-BA81-E3658E7812A5}" dt="2021-10-14T12:04:59.719" v="405" actId="1035"/>
          <ac:cxnSpMkLst>
            <pc:docMk/>
            <pc:sldMk cId="1537997412" sldId="373"/>
            <ac:cxnSpMk id="17" creationId="{ADB86D40-94DA-4EA6-A13C-F322B879613C}"/>
          </ac:cxnSpMkLst>
        </pc:cxnChg>
        <pc:cxnChg chg="add mod ord">
          <ac:chgData name="Meyer Raphael (PAR-ES)" userId="79615dfe-ed48-4e74-a40f-4f7b034c1c27" providerId="ADAL" clId="{6B72B7AA-64CB-4034-BA81-E3658E7812A5}" dt="2021-10-14T12:06:17.552" v="415" actId="14100"/>
          <ac:cxnSpMkLst>
            <pc:docMk/>
            <pc:sldMk cId="1537997412" sldId="373"/>
            <ac:cxnSpMk id="18" creationId="{4AD487EB-8B7D-42D2-9F65-FA2AF08A717F}"/>
          </ac:cxnSpMkLst>
        </pc:cxnChg>
        <pc:cxnChg chg="mod ord">
          <ac:chgData name="Meyer Raphael (PAR-ES)" userId="79615dfe-ed48-4e74-a40f-4f7b034c1c27" providerId="ADAL" clId="{6B72B7AA-64CB-4034-BA81-E3658E7812A5}" dt="2021-10-14T12:06:10.762" v="414" actId="14100"/>
          <ac:cxnSpMkLst>
            <pc:docMk/>
            <pc:sldMk cId="1537997412" sldId="373"/>
            <ac:cxnSpMk id="21" creationId="{70B5456D-B5DD-4516-B6A3-B39AEE671B52}"/>
          </ac:cxnSpMkLst>
        </pc:cxnChg>
      </pc:sldChg>
    </pc:docChg>
  </pc:docChgLst>
  <pc:docChgLst>
    <pc:chgData name="Meyer Raphael (PAR-ES)" userId="79615dfe-ed48-4e74-a40f-4f7b034c1c27" providerId="ADAL" clId="{A5E257DA-1DDD-4903-A2FA-1BDC090569F8}"/>
    <pc:docChg chg="undo custSel addSld delSld modSld sldOrd modMainMaster">
      <pc:chgData name="Meyer Raphael (PAR-ES)" userId="79615dfe-ed48-4e74-a40f-4f7b034c1c27" providerId="ADAL" clId="{A5E257DA-1DDD-4903-A2FA-1BDC090569F8}" dt="2021-10-19T11:12:31.231" v="321" actId="47"/>
      <pc:docMkLst>
        <pc:docMk/>
      </pc:docMkLst>
      <pc:sldChg chg="add del">
        <pc:chgData name="Meyer Raphael (PAR-ES)" userId="79615dfe-ed48-4e74-a40f-4f7b034c1c27" providerId="ADAL" clId="{A5E257DA-1DDD-4903-A2FA-1BDC090569F8}" dt="2021-10-19T10:56:27.768" v="287" actId="47"/>
        <pc:sldMkLst>
          <pc:docMk/>
          <pc:sldMk cId="394638514" sldId="278"/>
        </pc:sldMkLst>
      </pc:sldChg>
      <pc:sldChg chg="add del">
        <pc:chgData name="Meyer Raphael (PAR-ES)" userId="79615dfe-ed48-4e74-a40f-4f7b034c1c27" providerId="ADAL" clId="{A5E257DA-1DDD-4903-A2FA-1BDC090569F8}" dt="2021-10-19T10:57:16.729" v="288" actId="47"/>
        <pc:sldMkLst>
          <pc:docMk/>
          <pc:sldMk cId="2118529740" sldId="292"/>
        </pc:sldMkLst>
      </pc:sldChg>
      <pc:sldChg chg="del">
        <pc:chgData name="Meyer Raphael (PAR-ES)" userId="79615dfe-ed48-4e74-a40f-4f7b034c1c27" providerId="ADAL" clId="{A5E257DA-1DDD-4903-A2FA-1BDC090569F8}" dt="2021-10-19T11:12:31.231" v="321" actId="47"/>
        <pc:sldMkLst>
          <pc:docMk/>
          <pc:sldMk cId="3137099422" sldId="358"/>
        </pc:sldMkLst>
      </pc:sldChg>
      <pc:sldChg chg="del">
        <pc:chgData name="Meyer Raphael (PAR-ES)" userId="79615dfe-ed48-4e74-a40f-4f7b034c1c27" providerId="ADAL" clId="{A5E257DA-1DDD-4903-A2FA-1BDC090569F8}" dt="2021-10-19T11:12:26.826" v="320" actId="47"/>
        <pc:sldMkLst>
          <pc:docMk/>
          <pc:sldMk cId="4111543747" sldId="368"/>
        </pc:sldMkLst>
      </pc:sldChg>
      <pc:sldChg chg="del">
        <pc:chgData name="Meyer Raphael (PAR-ES)" userId="79615dfe-ed48-4e74-a40f-4f7b034c1c27" providerId="ADAL" clId="{A5E257DA-1DDD-4903-A2FA-1BDC090569F8}" dt="2021-10-19T11:12:21.888" v="319" actId="47"/>
        <pc:sldMkLst>
          <pc:docMk/>
          <pc:sldMk cId="3462026173" sldId="370"/>
        </pc:sldMkLst>
      </pc:sldChg>
      <pc:sldChg chg="addSp delSp modSp mod modClrScheme modShow chgLayout">
        <pc:chgData name="Meyer Raphael (PAR-ES)" userId="79615dfe-ed48-4e74-a40f-4f7b034c1c27" providerId="ADAL" clId="{A5E257DA-1DDD-4903-A2FA-1BDC090569F8}" dt="2021-10-19T10:56:00.761" v="284" actId="207"/>
        <pc:sldMkLst>
          <pc:docMk/>
          <pc:sldMk cId="1537997412" sldId="373"/>
        </pc:sldMkLst>
        <pc:spChg chg="mod">
          <ac:chgData name="Meyer Raphael (PAR-ES)" userId="79615dfe-ed48-4e74-a40f-4f7b034c1c27" providerId="ADAL" clId="{A5E257DA-1DDD-4903-A2FA-1BDC090569F8}" dt="2021-10-19T10:54:47.546" v="276" actId="2711"/>
          <ac:spMkLst>
            <pc:docMk/>
            <pc:sldMk cId="1537997412" sldId="373"/>
            <ac:spMk id="2" creationId="{5E8A4EFD-4DC4-43AA-95D5-75F07C9AB845}"/>
          </ac:spMkLst>
        </pc:spChg>
        <pc:spChg chg="del mod">
          <ac:chgData name="Meyer Raphael (PAR-ES)" userId="79615dfe-ed48-4e74-a40f-4f7b034c1c27" providerId="ADAL" clId="{A5E257DA-1DDD-4903-A2FA-1BDC090569F8}" dt="2021-10-19T10:54:19.590" v="271" actId="478"/>
          <ac:spMkLst>
            <pc:docMk/>
            <pc:sldMk cId="1537997412" sldId="373"/>
            <ac:spMk id="6" creationId="{8C570F95-0775-4F12-8DDA-DD52CE7241CC}"/>
          </ac:spMkLst>
        </pc:spChg>
        <pc:spChg chg="add del mod ord">
          <ac:chgData name="Meyer Raphael (PAR-ES)" userId="79615dfe-ed48-4e74-a40f-4f7b034c1c27" providerId="ADAL" clId="{A5E257DA-1DDD-4903-A2FA-1BDC090569F8}" dt="2021-10-19T09:26:15.211" v="72" actId="700"/>
          <ac:spMkLst>
            <pc:docMk/>
            <pc:sldMk cId="1537997412" sldId="373"/>
            <ac:spMk id="8" creationId="{BB7AD370-FC21-4A63-B2F3-F53F7A8A2971}"/>
          </ac:spMkLst>
        </pc:spChg>
        <pc:spChg chg="mod">
          <ac:chgData name="Meyer Raphael (PAR-ES)" userId="79615dfe-ed48-4e74-a40f-4f7b034c1c27" providerId="ADAL" clId="{A5E257DA-1DDD-4903-A2FA-1BDC090569F8}" dt="2021-10-19T10:53:51.775" v="267" actId="2711"/>
          <ac:spMkLst>
            <pc:docMk/>
            <pc:sldMk cId="1537997412" sldId="373"/>
            <ac:spMk id="9" creationId="{42AA12ED-4579-4FE5-A07A-BC01B76928FB}"/>
          </ac:spMkLst>
        </pc:spChg>
        <pc:spChg chg="mod">
          <ac:chgData name="Meyer Raphael (PAR-ES)" userId="79615dfe-ed48-4e74-a40f-4f7b034c1c27" providerId="ADAL" clId="{A5E257DA-1DDD-4903-A2FA-1BDC090569F8}" dt="2021-10-19T10:53:46.148" v="265" actId="2711"/>
          <ac:spMkLst>
            <pc:docMk/>
            <pc:sldMk cId="1537997412" sldId="373"/>
            <ac:spMk id="12" creationId="{4DA2B71E-2CC2-4C38-BAAB-A71345A07B83}"/>
          </ac:spMkLst>
        </pc:spChg>
        <pc:spChg chg="mod">
          <ac:chgData name="Meyer Raphael (PAR-ES)" userId="79615dfe-ed48-4e74-a40f-4f7b034c1c27" providerId="ADAL" clId="{A5E257DA-1DDD-4903-A2FA-1BDC090569F8}" dt="2021-10-19T10:53:48.583" v="266" actId="2711"/>
          <ac:spMkLst>
            <pc:docMk/>
            <pc:sldMk cId="1537997412" sldId="373"/>
            <ac:spMk id="13" creationId="{B946C02A-50DE-42C7-A209-D603829BA4B1}"/>
          </ac:spMkLst>
        </pc:spChg>
        <pc:spChg chg="mod">
          <ac:chgData name="Meyer Raphael (PAR-ES)" userId="79615dfe-ed48-4e74-a40f-4f7b034c1c27" providerId="ADAL" clId="{A5E257DA-1DDD-4903-A2FA-1BDC090569F8}" dt="2021-10-19T07:35:16.109" v="14" actId="14100"/>
          <ac:spMkLst>
            <pc:docMk/>
            <pc:sldMk cId="1537997412" sldId="373"/>
            <ac:spMk id="16" creationId="{12071265-4F7A-4F0C-9EDF-46D776DCEF56}"/>
          </ac:spMkLst>
        </pc:spChg>
        <pc:spChg chg="del mod ord">
          <ac:chgData name="Meyer Raphael (PAR-ES)" userId="79615dfe-ed48-4e74-a40f-4f7b034c1c27" providerId="ADAL" clId="{A5E257DA-1DDD-4903-A2FA-1BDC090569F8}" dt="2021-10-19T09:28:36.491" v="165" actId="478"/>
          <ac:spMkLst>
            <pc:docMk/>
            <pc:sldMk cId="1537997412" sldId="373"/>
            <ac:spMk id="19" creationId="{9FB4AF3B-D5AD-4F53-ABB0-E4CE1F5D8E5E}"/>
          </ac:spMkLst>
        </pc:spChg>
        <pc:spChg chg="add del">
          <ac:chgData name="Meyer Raphael (PAR-ES)" userId="79615dfe-ed48-4e74-a40f-4f7b034c1c27" providerId="ADAL" clId="{A5E257DA-1DDD-4903-A2FA-1BDC090569F8}" dt="2021-10-19T09:29:45.750" v="169" actId="478"/>
          <ac:spMkLst>
            <pc:docMk/>
            <pc:sldMk cId="1537997412" sldId="373"/>
            <ac:spMk id="20" creationId="{6D955C95-B626-44C6-B064-0754E67E37CF}"/>
          </ac:spMkLst>
        </pc:spChg>
        <pc:spChg chg="mod">
          <ac:chgData name="Meyer Raphael (PAR-ES)" userId="79615dfe-ed48-4e74-a40f-4f7b034c1c27" providerId="ADAL" clId="{A5E257DA-1DDD-4903-A2FA-1BDC090569F8}" dt="2021-10-19T10:54:05.777" v="270" actId="2711"/>
          <ac:spMkLst>
            <pc:docMk/>
            <pc:sldMk cId="1537997412" sldId="373"/>
            <ac:spMk id="22" creationId="{B3F5B9B8-EDA8-430F-83AA-59E4DAA4DCA3}"/>
          </ac:spMkLst>
        </pc:spChg>
        <pc:spChg chg="add del mod">
          <ac:chgData name="Meyer Raphael (PAR-ES)" userId="79615dfe-ed48-4e74-a40f-4f7b034c1c27" providerId="ADAL" clId="{A5E257DA-1DDD-4903-A2FA-1BDC090569F8}" dt="2021-10-19T09:28:40.747" v="166" actId="478"/>
          <ac:spMkLst>
            <pc:docMk/>
            <pc:sldMk cId="1537997412" sldId="373"/>
            <ac:spMk id="23" creationId="{D23C2A18-7CB1-4AB4-B97C-129A04690FE2}"/>
          </ac:spMkLst>
        </pc:spChg>
        <pc:spChg chg="mod">
          <ac:chgData name="Meyer Raphael (PAR-ES)" userId="79615dfe-ed48-4e74-a40f-4f7b034c1c27" providerId="ADAL" clId="{A5E257DA-1DDD-4903-A2FA-1BDC090569F8}" dt="2021-10-19T07:35:07.673" v="12" actId="14100"/>
          <ac:spMkLst>
            <pc:docMk/>
            <pc:sldMk cId="1537997412" sldId="373"/>
            <ac:spMk id="24" creationId="{FD07A55C-6879-4E52-B5A8-38679864E2FC}"/>
          </ac:spMkLst>
        </pc:spChg>
        <pc:spChg chg="add del mod">
          <ac:chgData name="Meyer Raphael (PAR-ES)" userId="79615dfe-ed48-4e74-a40f-4f7b034c1c27" providerId="ADAL" clId="{A5E257DA-1DDD-4903-A2FA-1BDC090569F8}" dt="2021-10-19T09:27:29.945" v="81"/>
          <ac:spMkLst>
            <pc:docMk/>
            <pc:sldMk cId="1537997412" sldId="373"/>
            <ac:spMk id="25" creationId="{986910AA-318D-4B30-A751-E918E5F3FEA1}"/>
          </ac:spMkLst>
        </pc:spChg>
        <pc:spChg chg="add mod">
          <ac:chgData name="Meyer Raphael (PAR-ES)" userId="79615dfe-ed48-4e74-a40f-4f7b034c1c27" providerId="ADAL" clId="{A5E257DA-1DDD-4903-A2FA-1BDC090569F8}" dt="2021-10-19T09:29:52.362" v="171" actId="404"/>
          <ac:spMkLst>
            <pc:docMk/>
            <pc:sldMk cId="1537997412" sldId="373"/>
            <ac:spMk id="26" creationId="{B2A2B17F-5283-4548-8C7D-95077C2EAD04}"/>
          </ac:spMkLst>
        </pc:spChg>
        <pc:spChg chg="add mod">
          <ac:chgData name="Meyer Raphael (PAR-ES)" userId="79615dfe-ed48-4e74-a40f-4f7b034c1c27" providerId="ADAL" clId="{A5E257DA-1DDD-4903-A2FA-1BDC090569F8}" dt="2021-10-19T10:54:20.655" v="272"/>
          <ac:spMkLst>
            <pc:docMk/>
            <pc:sldMk cId="1537997412" sldId="373"/>
            <ac:spMk id="28" creationId="{582710AA-075B-42A9-AAE8-776AAD968DF6}"/>
          </ac:spMkLst>
        </pc:spChg>
        <pc:spChg chg="mod">
          <ac:chgData name="Meyer Raphael (PAR-ES)" userId="79615dfe-ed48-4e74-a40f-4f7b034c1c27" providerId="ADAL" clId="{A5E257DA-1DDD-4903-A2FA-1BDC090569F8}" dt="2021-10-19T10:54:44.957" v="275" actId="2711"/>
          <ac:spMkLst>
            <pc:docMk/>
            <pc:sldMk cId="1537997412" sldId="373"/>
            <ac:spMk id="30" creationId="{4F4C31ED-0414-44F1-B84F-EA8394C10C0D}"/>
          </ac:spMkLst>
        </pc:spChg>
        <pc:graphicFrameChg chg="mod">
          <ac:chgData name="Meyer Raphael (PAR-ES)" userId="79615dfe-ed48-4e74-a40f-4f7b034c1c27" providerId="ADAL" clId="{A5E257DA-1DDD-4903-A2FA-1BDC090569F8}" dt="2021-10-19T10:56:00.761" v="284" actId="207"/>
          <ac:graphicFrameMkLst>
            <pc:docMk/>
            <pc:sldMk cId="1537997412" sldId="373"/>
            <ac:graphicFrameMk id="10" creationId="{E856299E-9B60-478F-8674-1045505692C4}"/>
          </ac:graphicFrameMkLst>
        </pc:graphicFrameChg>
        <pc:cxnChg chg="mod">
          <ac:chgData name="Meyer Raphael (PAR-ES)" userId="79615dfe-ed48-4e74-a40f-4f7b034c1c27" providerId="ADAL" clId="{A5E257DA-1DDD-4903-A2FA-1BDC090569F8}" dt="2021-10-19T07:36:38.914" v="23" actId="1038"/>
          <ac:cxnSpMkLst>
            <pc:docMk/>
            <pc:sldMk cId="1537997412" sldId="373"/>
            <ac:cxnSpMk id="7" creationId="{D77902D2-9169-4095-AF09-B1A9DB2A7B74}"/>
          </ac:cxnSpMkLst>
        </pc:cxnChg>
        <pc:cxnChg chg="mod">
          <ac:chgData name="Meyer Raphael (PAR-ES)" userId="79615dfe-ed48-4e74-a40f-4f7b034c1c27" providerId="ADAL" clId="{A5E257DA-1DDD-4903-A2FA-1BDC090569F8}" dt="2021-10-19T07:36:51.807" v="25" actId="1037"/>
          <ac:cxnSpMkLst>
            <pc:docMk/>
            <pc:sldMk cId="1537997412" sldId="373"/>
            <ac:cxnSpMk id="11" creationId="{A9B79FFE-7EB4-42F9-AF46-169C3E5C72D5}"/>
          </ac:cxnSpMkLst>
        </pc:cxnChg>
        <pc:cxnChg chg="mod">
          <ac:chgData name="Meyer Raphael (PAR-ES)" userId="79615dfe-ed48-4e74-a40f-4f7b034c1c27" providerId="ADAL" clId="{A5E257DA-1DDD-4903-A2FA-1BDC090569F8}" dt="2021-10-19T07:34:09.949" v="6" actId="1036"/>
          <ac:cxnSpMkLst>
            <pc:docMk/>
            <pc:sldMk cId="1537997412" sldId="373"/>
            <ac:cxnSpMk id="17" creationId="{ADB86D40-94DA-4EA6-A13C-F322B879613C}"/>
          </ac:cxnSpMkLst>
        </pc:cxnChg>
        <pc:cxnChg chg="mod">
          <ac:chgData name="Meyer Raphael (PAR-ES)" userId="79615dfe-ed48-4e74-a40f-4f7b034c1c27" providerId="ADAL" clId="{A5E257DA-1DDD-4903-A2FA-1BDC090569F8}" dt="2021-10-19T07:34:38.235" v="8" actId="1035"/>
          <ac:cxnSpMkLst>
            <pc:docMk/>
            <pc:sldMk cId="1537997412" sldId="373"/>
            <ac:cxnSpMk id="18" creationId="{4AD487EB-8B7D-42D2-9F65-FA2AF08A717F}"/>
          </ac:cxnSpMkLst>
        </pc:cxnChg>
        <pc:cxnChg chg="mod">
          <ac:chgData name="Meyer Raphael (PAR-ES)" userId="79615dfe-ed48-4e74-a40f-4f7b034c1c27" providerId="ADAL" clId="{A5E257DA-1DDD-4903-A2FA-1BDC090569F8}" dt="2021-10-19T07:34:52.791" v="10" actId="1036"/>
          <ac:cxnSpMkLst>
            <pc:docMk/>
            <pc:sldMk cId="1537997412" sldId="373"/>
            <ac:cxnSpMk id="21" creationId="{70B5456D-B5DD-4516-B6A3-B39AEE671B52}"/>
          </ac:cxnSpMkLst>
        </pc:cxnChg>
      </pc:sldChg>
      <pc:sldChg chg="addSp delSp modSp add mod ord modShow">
        <pc:chgData name="Meyer Raphael (PAR-ES)" userId="79615dfe-ed48-4e74-a40f-4f7b034c1c27" providerId="ADAL" clId="{A5E257DA-1DDD-4903-A2FA-1BDC090569F8}" dt="2021-10-19T10:49:46.899" v="262" actId="207"/>
        <pc:sldMkLst>
          <pc:docMk/>
          <pc:sldMk cId="1860183250" sldId="377"/>
        </pc:sldMkLst>
        <pc:spChg chg="mod">
          <ac:chgData name="Meyer Raphael (PAR-ES)" userId="79615dfe-ed48-4e74-a40f-4f7b034c1c27" providerId="ADAL" clId="{A5E257DA-1DDD-4903-A2FA-1BDC090569F8}" dt="2021-10-19T09:43:35.949" v="202" actId="2711"/>
          <ac:spMkLst>
            <pc:docMk/>
            <pc:sldMk cId="1860183250" sldId="377"/>
            <ac:spMk id="2" creationId="{5E8A4EFD-4DC4-43AA-95D5-75F07C9AB845}"/>
          </ac:spMkLst>
        </pc:spChg>
        <pc:spChg chg="add del mod">
          <ac:chgData name="Meyer Raphael (PAR-ES)" userId="79615dfe-ed48-4e74-a40f-4f7b034c1c27" providerId="ADAL" clId="{A5E257DA-1DDD-4903-A2FA-1BDC090569F8}" dt="2021-10-19T09:44:22.371" v="208" actId="478"/>
          <ac:spMkLst>
            <pc:docMk/>
            <pc:sldMk cId="1860183250" sldId="377"/>
            <ac:spMk id="4" creationId="{DFF900A6-17FF-45E8-AEE4-B4AB3AAA3450}"/>
          </ac:spMkLst>
        </pc:spChg>
        <pc:spChg chg="mod">
          <ac:chgData name="Meyer Raphael (PAR-ES)" userId="79615dfe-ed48-4e74-a40f-4f7b034c1c27" providerId="ADAL" clId="{A5E257DA-1DDD-4903-A2FA-1BDC090569F8}" dt="2021-10-19T09:43:09.615" v="197" actId="14100"/>
          <ac:spMkLst>
            <pc:docMk/>
            <pc:sldMk cId="1860183250" sldId="377"/>
            <ac:spMk id="6" creationId="{8C570F95-0775-4F12-8DDA-DD52CE7241CC}"/>
          </ac:spMkLst>
        </pc:spChg>
        <pc:spChg chg="mod">
          <ac:chgData name="Meyer Raphael (PAR-ES)" userId="79615dfe-ed48-4e74-a40f-4f7b034c1c27" providerId="ADAL" clId="{A5E257DA-1DDD-4903-A2FA-1BDC090569F8}" dt="2021-10-19T09:43:29.584" v="201" actId="2711"/>
          <ac:spMkLst>
            <pc:docMk/>
            <pc:sldMk cId="1860183250" sldId="377"/>
            <ac:spMk id="9" creationId="{42AA12ED-4579-4FE5-A07A-BC01B76928FB}"/>
          </ac:spMkLst>
        </pc:spChg>
        <pc:spChg chg="mod">
          <ac:chgData name="Meyer Raphael (PAR-ES)" userId="79615dfe-ed48-4e74-a40f-4f7b034c1c27" providerId="ADAL" clId="{A5E257DA-1DDD-4903-A2FA-1BDC090569F8}" dt="2021-10-19T09:43:24.876" v="199" actId="2711"/>
          <ac:spMkLst>
            <pc:docMk/>
            <pc:sldMk cId="1860183250" sldId="377"/>
            <ac:spMk id="12" creationId="{4DA2B71E-2CC2-4C38-BAAB-A71345A07B83}"/>
          </ac:spMkLst>
        </pc:spChg>
        <pc:spChg chg="mod">
          <ac:chgData name="Meyer Raphael (PAR-ES)" userId="79615dfe-ed48-4e74-a40f-4f7b034c1c27" providerId="ADAL" clId="{A5E257DA-1DDD-4903-A2FA-1BDC090569F8}" dt="2021-10-19T09:43:27.463" v="200" actId="2711"/>
          <ac:spMkLst>
            <pc:docMk/>
            <pc:sldMk cId="1860183250" sldId="377"/>
            <ac:spMk id="13" creationId="{B946C02A-50DE-42C7-A209-D603829BA4B1}"/>
          </ac:spMkLst>
        </pc:spChg>
        <pc:spChg chg="del mod">
          <ac:chgData name="Meyer Raphael (PAR-ES)" userId="79615dfe-ed48-4e74-a40f-4f7b034c1c27" providerId="ADAL" clId="{A5E257DA-1DDD-4903-A2FA-1BDC090569F8}" dt="2021-10-19T09:44:18.679" v="207" actId="478"/>
          <ac:spMkLst>
            <pc:docMk/>
            <pc:sldMk cId="1860183250" sldId="377"/>
            <ac:spMk id="19" creationId="{9FB4AF3B-D5AD-4F53-ABB0-E4CE1F5D8E5E}"/>
          </ac:spMkLst>
        </pc:spChg>
        <pc:spChg chg="del mod">
          <ac:chgData name="Meyer Raphael (PAR-ES)" userId="79615dfe-ed48-4e74-a40f-4f7b034c1c27" providerId="ADAL" clId="{A5E257DA-1DDD-4903-A2FA-1BDC090569F8}" dt="2021-10-19T09:44:26.161" v="209" actId="478"/>
          <ac:spMkLst>
            <pc:docMk/>
            <pc:sldMk cId="1860183250" sldId="377"/>
            <ac:spMk id="20" creationId="{6D955C95-B626-44C6-B064-0754E67E37CF}"/>
          </ac:spMkLst>
        </pc:spChg>
        <pc:spChg chg="mod">
          <ac:chgData name="Meyer Raphael (PAR-ES)" userId="79615dfe-ed48-4e74-a40f-4f7b034c1c27" providerId="ADAL" clId="{A5E257DA-1DDD-4903-A2FA-1BDC090569F8}" dt="2021-10-19T09:43:14.628" v="198" actId="2711"/>
          <ac:spMkLst>
            <pc:docMk/>
            <pc:sldMk cId="1860183250" sldId="377"/>
            <ac:spMk id="22" creationId="{B3F5B9B8-EDA8-430F-83AA-59E4DAA4DCA3}"/>
          </ac:spMkLst>
        </pc:spChg>
        <pc:spChg chg="add mod">
          <ac:chgData name="Meyer Raphael (PAR-ES)" userId="79615dfe-ed48-4e74-a40f-4f7b034c1c27" providerId="ADAL" clId="{A5E257DA-1DDD-4903-A2FA-1BDC090569F8}" dt="2021-10-19T09:44:14.570" v="206"/>
          <ac:spMkLst>
            <pc:docMk/>
            <pc:sldMk cId="1860183250" sldId="377"/>
            <ac:spMk id="23" creationId="{BB914326-7AE8-4E56-8D70-FE10C57F72D7}"/>
          </ac:spMkLst>
        </pc:spChg>
        <pc:spChg chg="mod">
          <ac:chgData name="Meyer Raphael (PAR-ES)" userId="79615dfe-ed48-4e74-a40f-4f7b034c1c27" providerId="ADAL" clId="{A5E257DA-1DDD-4903-A2FA-1BDC090569F8}" dt="2021-10-19T09:42:56.255" v="195" actId="2711"/>
          <ac:spMkLst>
            <pc:docMk/>
            <pc:sldMk cId="1860183250" sldId="377"/>
            <ac:spMk id="30" creationId="{4F4C31ED-0414-44F1-B84F-EA8394C10C0D}"/>
          </ac:spMkLst>
        </pc:spChg>
        <pc:graphicFrameChg chg="mod">
          <ac:chgData name="Meyer Raphael (PAR-ES)" userId="79615dfe-ed48-4e74-a40f-4f7b034c1c27" providerId="ADAL" clId="{A5E257DA-1DDD-4903-A2FA-1BDC090569F8}" dt="2021-10-19T10:49:46.899" v="262" actId="207"/>
          <ac:graphicFrameMkLst>
            <pc:docMk/>
            <pc:sldMk cId="1860183250" sldId="377"/>
            <ac:graphicFrameMk id="10" creationId="{E856299E-9B60-478F-8674-1045505692C4}"/>
          </ac:graphicFrameMkLst>
        </pc:graphicFrameChg>
      </pc:sldChg>
      <pc:sldChg chg="addSp delSp modSp add mod modShow">
        <pc:chgData name="Meyer Raphael (PAR-ES)" userId="79615dfe-ed48-4e74-a40f-4f7b034c1c27" providerId="ADAL" clId="{A5E257DA-1DDD-4903-A2FA-1BDC090569F8}" dt="2021-10-19T11:00:27.706" v="318" actId="729"/>
        <pc:sldMkLst>
          <pc:docMk/>
          <pc:sldMk cId="3254615737" sldId="378"/>
        </pc:sldMkLst>
        <pc:spChg chg="mod">
          <ac:chgData name="Meyer Raphael (PAR-ES)" userId="79615dfe-ed48-4e74-a40f-4f7b034c1c27" providerId="ADAL" clId="{A5E257DA-1DDD-4903-A2FA-1BDC090569F8}" dt="2021-10-19T11:00:10.408" v="317" actId="2711"/>
          <ac:spMkLst>
            <pc:docMk/>
            <pc:sldMk cId="3254615737" sldId="378"/>
            <ac:spMk id="2" creationId="{5E8A4EFD-4DC4-43AA-95D5-75F07C9AB845}"/>
          </ac:spMkLst>
        </pc:spChg>
        <pc:spChg chg="add del mod">
          <ac:chgData name="Meyer Raphael (PAR-ES)" userId="79615dfe-ed48-4e74-a40f-4f7b034c1c27" providerId="ADAL" clId="{A5E257DA-1DDD-4903-A2FA-1BDC090569F8}" dt="2021-10-19T10:58:28.759" v="297" actId="478"/>
          <ac:spMkLst>
            <pc:docMk/>
            <pc:sldMk cId="3254615737" sldId="378"/>
            <ac:spMk id="4" creationId="{BA55A192-82EF-469B-B729-E912E04AFBCA}"/>
          </ac:spMkLst>
        </pc:spChg>
        <pc:spChg chg="del mod">
          <ac:chgData name="Meyer Raphael (PAR-ES)" userId="79615dfe-ed48-4e74-a40f-4f7b034c1c27" providerId="ADAL" clId="{A5E257DA-1DDD-4903-A2FA-1BDC090569F8}" dt="2021-10-19T10:59:42.708" v="311" actId="478"/>
          <ac:spMkLst>
            <pc:docMk/>
            <pc:sldMk cId="3254615737" sldId="378"/>
            <ac:spMk id="6" creationId="{8C570F95-0775-4F12-8DDA-DD52CE7241CC}"/>
          </ac:spMkLst>
        </pc:spChg>
        <pc:spChg chg="mod">
          <ac:chgData name="Meyer Raphael (PAR-ES)" userId="79615dfe-ed48-4e74-a40f-4f7b034c1c27" providerId="ADAL" clId="{A5E257DA-1DDD-4903-A2FA-1BDC090569F8}" dt="2021-10-19T10:59:33.798" v="308" actId="2711"/>
          <ac:spMkLst>
            <pc:docMk/>
            <pc:sldMk cId="3254615737" sldId="378"/>
            <ac:spMk id="9" creationId="{42AA12ED-4579-4FE5-A07A-BC01B76928FB}"/>
          </ac:spMkLst>
        </pc:spChg>
        <pc:spChg chg="mod">
          <ac:chgData name="Meyer Raphael (PAR-ES)" userId="79615dfe-ed48-4e74-a40f-4f7b034c1c27" providerId="ADAL" clId="{A5E257DA-1DDD-4903-A2FA-1BDC090569F8}" dt="2021-10-19T10:59:28.362" v="306" actId="2711"/>
          <ac:spMkLst>
            <pc:docMk/>
            <pc:sldMk cId="3254615737" sldId="378"/>
            <ac:spMk id="12" creationId="{4DA2B71E-2CC2-4C38-BAAB-A71345A07B83}"/>
          </ac:spMkLst>
        </pc:spChg>
        <pc:spChg chg="mod">
          <ac:chgData name="Meyer Raphael (PAR-ES)" userId="79615dfe-ed48-4e74-a40f-4f7b034c1c27" providerId="ADAL" clId="{A5E257DA-1DDD-4903-A2FA-1BDC090569F8}" dt="2021-10-19T10:59:31.031" v="307" actId="2711"/>
          <ac:spMkLst>
            <pc:docMk/>
            <pc:sldMk cId="3254615737" sldId="378"/>
            <ac:spMk id="13" creationId="{B946C02A-50DE-42C7-A209-D603829BA4B1}"/>
          </ac:spMkLst>
        </pc:spChg>
        <pc:spChg chg="del mod">
          <ac:chgData name="Meyer Raphael (PAR-ES)" userId="79615dfe-ed48-4e74-a40f-4f7b034c1c27" providerId="ADAL" clId="{A5E257DA-1DDD-4903-A2FA-1BDC090569F8}" dt="2021-10-19T10:58:26.730" v="296" actId="478"/>
          <ac:spMkLst>
            <pc:docMk/>
            <pc:sldMk cId="3254615737" sldId="378"/>
            <ac:spMk id="19" creationId="{9FB4AF3B-D5AD-4F53-ABB0-E4CE1F5D8E5E}"/>
          </ac:spMkLst>
        </pc:spChg>
        <pc:spChg chg="del mod">
          <ac:chgData name="Meyer Raphael (PAR-ES)" userId="79615dfe-ed48-4e74-a40f-4f7b034c1c27" providerId="ADAL" clId="{A5E257DA-1DDD-4903-A2FA-1BDC090569F8}" dt="2021-10-19T10:58:32.145" v="298" actId="478"/>
          <ac:spMkLst>
            <pc:docMk/>
            <pc:sldMk cId="3254615737" sldId="378"/>
            <ac:spMk id="20" creationId="{6D955C95-B626-44C6-B064-0754E67E37CF}"/>
          </ac:spMkLst>
        </pc:spChg>
        <pc:spChg chg="mod">
          <ac:chgData name="Meyer Raphael (PAR-ES)" userId="79615dfe-ed48-4e74-a40f-4f7b034c1c27" providerId="ADAL" clId="{A5E257DA-1DDD-4903-A2FA-1BDC090569F8}" dt="2021-10-19T10:59:54.747" v="313" actId="2711"/>
          <ac:spMkLst>
            <pc:docMk/>
            <pc:sldMk cId="3254615737" sldId="378"/>
            <ac:spMk id="22" creationId="{B3F5B9B8-EDA8-430F-83AA-59E4DAA4DCA3}"/>
          </ac:spMkLst>
        </pc:spChg>
        <pc:spChg chg="add mod">
          <ac:chgData name="Meyer Raphael (PAR-ES)" userId="79615dfe-ed48-4e74-a40f-4f7b034c1c27" providerId="ADAL" clId="{A5E257DA-1DDD-4903-A2FA-1BDC090569F8}" dt="2021-10-19T10:58:21.994" v="295"/>
          <ac:spMkLst>
            <pc:docMk/>
            <pc:sldMk cId="3254615737" sldId="378"/>
            <ac:spMk id="23" creationId="{C7EA10FB-93CC-4AA7-954F-92959A012B4C}"/>
          </ac:spMkLst>
        </pc:spChg>
        <pc:spChg chg="add mod">
          <ac:chgData name="Meyer Raphael (PAR-ES)" userId="79615dfe-ed48-4e74-a40f-4f7b034c1c27" providerId="ADAL" clId="{A5E257DA-1DDD-4903-A2FA-1BDC090569F8}" dt="2021-10-19T10:59:48.365" v="312"/>
          <ac:spMkLst>
            <pc:docMk/>
            <pc:sldMk cId="3254615737" sldId="378"/>
            <ac:spMk id="25" creationId="{EC5C1B42-A4A4-41A8-BF9E-C3765099701D}"/>
          </ac:spMkLst>
        </pc:spChg>
        <pc:spChg chg="mod">
          <ac:chgData name="Meyer Raphael (PAR-ES)" userId="79615dfe-ed48-4e74-a40f-4f7b034c1c27" providerId="ADAL" clId="{A5E257DA-1DDD-4903-A2FA-1BDC090569F8}" dt="2021-10-19T11:00:07.349" v="316" actId="2711"/>
          <ac:spMkLst>
            <pc:docMk/>
            <pc:sldMk cId="3254615737" sldId="378"/>
            <ac:spMk id="30" creationId="{4F4C31ED-0414-44F1-B84F-EA8394C10C0D}"/>
          </ac:spMkLst>
        </pc:spChg>
        <pc:graphicFrameChg chg="mod">
          <ac:chgData name="Meyer Raphael (PAR-ES)" userId="79615dfe-ed48-4e74-a40f-4f7b034c1c27" providerId="ADAL" clId="{A5E257DA-1DDD-4903-A2FA-1BDC090569F8}" dt="2021-10-19T11:00:03.976" v="315" actId="2711"/>
          <ac:graphicFrameMkLst>
            <pc:docMk/>
            <pc:sldMk cId="3254615737" sldId="378"/>
            <ac:graphicFrameMk id="10" creationId="{E856299E-9B60-478F-8674-1045505692C4}"/>
          </ac:graphicFrameMkLst>
        </pc:graphicFrameChg>
      </pc:sldChg>
      <pc:sldMasterChg chg="addSp modSp mod">
        <pc:chgData name="Meyer Raphael (PAR-ES)" userId="79615dfe-ed48-4e74-a40f-4f7b034c1c27" providerId="ADAL" clId="{A5E257DA-1DDD-4903-A2FA-1BDC090569F8}" dt="2021-10-19T09:44:29.818" v="240"/>
        <pc:sldMasterMkLst>
          <pc:docMk/>
          <pc:sldMasterMk cId="3007821643" sldId="2147483676"/>
        </pc:sldMasterMkLst>
        <pc:spChg chg="add mod ord modVis">
          <ac:chgData name="Meyer Raphael (PAR-ES)" userId="79615dfe-ed48-4e74-a40f-4f7b034c1c27" providerId="ADAL" clId="{A5E257DA-1DDD-4903-A2FA-1BDC090569F8}" dt="2021-10-19T09:44:29.818" v="240"/>
          <ac:spMkLst>
            <pc:docMk/>
            <pc:sldMasterMk cId="3007821643" sldId="2147483676"/>
            <ac:spMk id="7" creationId="{5E12FC31-FC0C-4EA2-A0F0-EC04857B99CD}"/>
          </ac:spMkLst>
        </pc:spChg>
      </pc:sldMasterChg>
    </pc:docChg>
  </pc:docChgLst>
  <pc:docChgLst>
    <pc:chgData name="Meyer Raphael (PAR-ES)" userId="79615dfe-ed48-4e74-a40f-4f7b034c1c27" providerId="ADAL" clId="{E3FC3DEB-1D4B-4954-B173-EAAE82CEA38B}"/>
    <pc:docChg chg="modSld">
      <pc:chgData name="Meyer Raphael (PAR-ES)" userId="79615dfe-ed48-4e74-a40f-4f7b034c1c27" providerId="ADAL" clId="{E3FC3DEB-1D4B-4954-B173-EAAE82CEA38B}" dt="2021-10-12T12:31:06.200" v="1" actId="27918"/>
      <pc:docMkLst>
        <pc:docMk/>
      </pc:docMkLst>
      <pc:sldChg chg="mod">
        <pc:chgData name="Meyer Raphael (PAR-ES)" userId="79615dfe-ed48-4e74-a40f-4f7b034c1c27" providerId="ADAL" clId="{E3FC3DEB-1D4B-4954-B173-EAAE82CEA38B}" dt="2021-10-12T12:31:06.200" v="1" actId="27918"/>
        <pc:sldMkLst>
          <pc:docMk/>
          <pc:sldMk cId="3462026173" sldId="370"/>
        </pc:sldMkLst>
      </pc:sldChg>
    </pc:docChg>
  </pc:docChgLst>
  <pc:docChgLst>
    <pc:chgData name="Meyer Raphael (PAR-ES)" userId="79615dfe-ed48-4e74-a40f-4f7b034c1c27" providerId="ADAL" clId="{9E554EE2-F074-428C-8653-2CEE000EC49B}"/>
    <pc:docChg chg="undo custSel addSld delSld modSld sldOrd">
      <pc:chgData name="Meyer Raphael (PAR-ES)" userId="79615dfe-ed48-4e74-a40f-4f7b034c1c27" providerId="ADAL" clId="{9E554EE2-F074-428C-8653-2CEE000EC49B}" dt="2021-01-21T09:56:56.178" v="869" actId="2696"/>
      <pc:docMkLst>
        <pc:docMk/>
      </pc:docMkLst>
      <pc:sldChg chg="addSp delSp modSp mod ord modTransition">
        <pc:chgData name="Meyer Raphael (PAR-ES)" userId="79615dfe-ed48-4e74-a40f-4f7b034c1c27" providerId="ADAL" clId="{9E554EE2-F074-428C-8653-2CEE000EC49B}" dt="2021-01-12T08:27:33.493" v="521" actId="20577"/>
        <pc:sldMkLst>
          <pc:docMk/>
          <pc:sldMk cId="1495152177" sldId="298"/>
        </pc:sldMkLst>
        <pc:spChg chg="mod">
          <ac:chgData name="Meyer Raphael (PAR-ES)" userId="79615dfe-ed48-4e74-a40f-4f7b034c1c27" providerId="ADAL" clId="{9E554EE2-F074-428C-8653-2CEE000EC49B}" dt="2021-01-12T08:27:33.493" v="521" actId="20577"/>
          <ac:spMkLst>
            <pc:docMk/>
            <pc:sldMk cId="1495152177" sldId="298"/>
            <ac:spMk id="2" creationId="{A2DC317F-F1F4-4624-8FC1-3B68C1DBB3DA}"/>
          </ac:spMkLst>
        </pc:spChg>
        <pc:spChg chg="mod">
          <ac:chgData name="Meyer Raphael (PAR-ES)" userId="79615dfe-ed48-4e74-a40f-4f7b034c1c27" providerId="ADAL" clId="{9E554EE2-F074-428C-8653-2CEE000EC49B}" dt="2021-01-07T10:18:11.899" v="371" actId="6549"/>
          <ac:spMkLst>
            <pc:docMk/>
            <pc:sldMk cId="1495152177" sldId="298"/>
            <ac:spMk id="3" creationId="{BE9D54F3-F9D9-46AC-81D9-6B8F30D628E7}"/>
          </ac:spMkLst>
        </pc:spChg>
        <pc:spChg chg="add del mod">
          <ac:chgData name="Meyer Raphael (PAR-ES)" userId="79615dfe-ed48-4e74-a40f-4f7b034c1c27" providerId="ADAL" clId="{9E554EE2-F074-428C-8653-2CEE000EC49B}" dt="2021-01-07T10:15:39.319" v="362" actId="478"/>
          <ac:spMkLst>
            <pc:docMk/>
            <pc:sldMk cId="1495152177" sldId="298"/>
            <ac:spMk id="4" creationId="{B5CDCB28-CC66-4BCC-9EBC-5C934D9B0D1E}"/>
          </ac:spMkLst>
        </pc:spChg>
        <pc:spChg chg="add mod">
          <ac:chgData name="Meyer Raphael (PAR-ES)" userId="79615dfe-ed48-4e74-a40f-4f7b034c1c27" providerId="ADAL" clId="{9E554EE2-F074-428C-8653-2CEE000EC49B}" dt="2021-01-07T10:18:03.478" v="368" actId="1076"/>
          <ac:spMkLst>
            <pc:docMk/>
            <pc:sldMk cId="1495152177" sldId="298"/>
            <ac:spMk id="6" creationId="{0EEE4EA3-E16E-424B-97F9-53A8F5D585AE}"/>
          </ac:spMkLst>
        </pc:spChg>
        <pc:spChg chg="add mod">
          <ac:chgData name="Meyer Raphael (PAR-ES)" userId="79615dfe-ed48-4e74-a40f-4f7b034c1c27" providerId="ADAL" clId="{9E554EE2-F074-428C-8653-2CEE000EC49B}" dt="2021-01-07T10:19:33.283" v="393" actId="1076"/>
          <ac:spMkLst>
            <pc:docMk/>
            <pc:sldMk cId="1495152177" sldId="298"/>
            <ac:spMk id="7" creationId="{51421822-C303-4FC2-BF5E-F4377E568635}"/>
          </ac:spMkLst>
        </pc:spChg>
        <pc:spChg chg="mod">
          <ac:chgData name="Meyer Raphael (PAR-ES)" userId="79615dfe-ed48-4e74-a40f-4f7b034c1c27" providerId="ADAL" clId="{9E554EE2-F074-428C-8653-2CEE000EC49B}" dt="2021-01-07T08:59:46.360" v="316"/>
          <ac:spMkLst>
            <pc:docMk/>
            <pc:sldMk cId="1495152177" sldId="298"/>
            <ac:spMk id="10" creationId="{077DFD58-E5EE-4B68-9325-D935DB04DD40}"/>
          </ac:spMkLst>
        </pc:spChg>
        <pc:spChg chg="del">
          <ac:chgData name="Meyer Raphael (PAR-ES)" userId="79615dfe-ed48-4e74-a40f-4f7b034c1c27" providerId="ADAL" clId="{9E554EE2-F074-428C-8653-2CEE000EC49B}" dt="2021-01-07T08:59:10.815" v="309" actId="478"/>
          <ac:spMkLst>
            <pc:docMk/>
            <pc:sldMk cId="1495152177" sldId="298"/>
            <ac:spMk id="11" creationId="{216B739F-8150-4262-9342-2F1CBFEB8A15}"/>
          </ac:spMkLst>
        </pc:spChg>
        <pc:spChg chg="del">
          <ac:chgData name="Meyer Raphael (PAR-ES)" userId="79615dfe-ed48-4e74-a40f-4f7b034c1c27" providerId="ADAL" clId="{9E554EE2-F074-428C-8653-2CEE000EC49B}" dt="2021-01-07T08:59:12.811" v="310" actId="478"/>
          <ac:spMkLst>
            <pc:docMk/>
            <pc:sldMk cId="1495152177" sldId="298"/>
            <ac:spMk id="12" creationId="{466A77C5-3AD7-44B3-83A7-0B8FF87DCA70}"/>
          </ac:spMkLst>
        </pc:spChg>
        <pc:spChg chg="add del mod">
          <ac:chgData name="Meyer Raphael (PAR-ES)" userId="79615dfe-ed48-4e74-a40f-4f7b034c1c27" providerId="ADAL" clId="{9E554EE2-F074-428C-8653-2CEE000EC49B}" dt="2021-01-07T10:19:59.180" v="398" actId="478"/>
          <ac:spMkLst>
            <pc:docMk/>
            <pc:sldMk cId="1495152177" sldId="298"/>
            <ac:spMk id="14" creationId="{91C996E6-7B36-44FC-81CD-6AF9B6CF5D5F}"/>
          </ac:spMkLst>
        </pc:spChg>
        <pc:spChg chg="add mod">
          <ac:chgData name="Meyer Raphael (PAR-ES)" userId="79615dfe-ed48-4e74-a40f-4f7b034c1c27" providerId="ADAL" clId="{9E554EE2-F074-428C-8653-2CEE000EC49B}" dt="2021-01-07T10:23:57.923" v="430" actId="179"/>
          <ac:spMkLst>
            <pc:docMk/>
            <pc:sldMk cId="1495152177" sldId="298"/>
            <ac:spMk id="15" creationId="{CC1F0CCA-7B55-41F9-A1FF-769ED7C753BD}"/>
          </ac:spMkLst>
        </pc:spChg>
        <pc:spChg chg="del">
          <ac:chgData name="Meyer Raphael (PAR-ES)" userId="79615dfe-ed48-4e74-a40f-4f7b034c1c27" providerId="ADAL" clId="{9E554EE2-F074-428C-8653-2CEE000EC49B}" dt="2021-01-07T08:58:56.783" v="307" actId="478"/>
          <ac:spMkLst>
            <pc:docMk/>
            <pc:sldMk cId="1495152177" sldId="298"/>
            <ac:spMk id="16" creationId="{E0218AF3-B8F0-43F9-B56B-123AF027A635}"/>
          </ac:spMkLst>
        </pc:spChg>
        <pc:graphicFrameChg chg="mod">
          <ac:chgData name="Meyer Raphael (PAR-ES)" userId="79615dfe-ed48-4e74-a40f-4f7b034c1c27" providerId="ADAL" clId="{9E554EE2-F074-428C-8653-2CEE000EC49B}" dt="2021-01-07T10:17:49.084" v="367" actId="14100"/>
          <ac:graphicFrameMkLst>
            <pc:docMk/>
            <pc:sldMk cId="1495152177" sldId="298"/>
            <ac:graphicFrameMk id="5" creationId="{4CF6AB8B-CAB9-4C7E-8E59-E00357A4D7F0}"/>
          </ac:graphicFrameMkLst>
        </pc:graphicFrameChg>
        <pc:cxnChg chg="del">
          <ac:chgData name="Meyer Raphael (PAR-ES)" userId="79615dfe-ed48-4e74-a40f-4f7b034c1c27" providerId="ADAL" clId="{9E554EE2-F074-428C-8653-2CEE000EC49B}" dt="2021-01-07T08:58:58.386" v="308" actId="478"/>
          <ac:cxnSpMkLst>
            <pc:docMk/>
            <pc:sldMk cId="1495152177" sldId="298"/>
            <ac:cxnSpMk id="13" creationId="{B728F4DE-8CC6-4054-BA1D-EBF2119A4EBB}"/>
          </ac:cxnSpMkLst>
        </pc:cxnChg>
        <pc:cxnChg chg="del">
          <ac:chgData name="Meyer Raphael (PAR-ES)" userId="79615dfe-ed48-4e74-a40f-4f7b034c1c27" providerId="ADAL" clId="{9E554EE2-F074-428C-8653-2CEE000EC49B}" dt="2021-01-06T09:51:51.950" v="1" actId="478"/>
          <ac:cxnSpMkLst>
            <pc:docMk/>
            <pc:sldMk cId="1495152177" sldId="298"/>
            <ac:cxnSpMk id="17" creationId="{FC62769B-4223-45AE-B088-516EBE8DECCF}"/>
          </ac:cxnSpMkLst>
        </pc:cxnChg>
      </pc:sldChg>
      <pc:sldChg chg="addSp delSp modSp mod">
        <pc:chgData name="Meyer Raphael (PAR-ES)" userId="79615dfe-ed48-4e74-a40f-4f7b034c1c27" providerId="ADAL" clId="{9E554EE2-F074-428C-8653-2CEE000EC49B}" dt="2021-01-21T09:51:57.105" v="773" actId="1038"/>
        <pc:sldMkLst>
          <pc:docMk/>
          <pc:sldMk cId="1667945532" sldId="306"/>
        </pc:sldMkLst>
        <pc:spChg chg="mod">
          <ac:chgData name="Meyer Raphael (PAR-ES)" userId="79615dfe-ed48-4e74-a40f-4f7b034c1c27" providerId="ADAL" clId="{9E554EE2-F074-428C-8653-2CEE000EC49B}" dt="2021-01-21T09:37:42.772" v="577" actId="20577"/>
          <ac:spMkLst>
            <pc:docMk/>
            <pc:sldMk cId="1667945532" sldId="306"/>
            <ac:spMk id="8" creationId="{5857C2A1-2CB8-4D4A-AEFD-E809BF73D04F}"/>
          </ac:spMkLst>
        </pc:spChg>
        <pc:spChg chg="mod">
          <ac:chgData name="Meyer Raphael (PAR-ES)" userId="79615dfe-ed48-4e74-a40f-4f7b034c1c27" providerId="ADAL" clId="{9E554EE2-F074-428C-8653-2CEE000EC49B}" dt="2021-01-21T09:37:39.147" v="574" actId="20577"/>
          <ac:spMkLst>
            <pc:docMk/>
            <pc:sldMk cId="1667945532" sldId="306"/>
            <ac:spMk id="27" creationId="{46A6B042-39EE-4A58-BBAA-13D52264B660}"/>
          </ac:spMkLst>
        </pc:spChg>
        <pc:spChg chg="mod">
          <ac:chgData name="Meyer Raphael (PAR-ES)" userId="79615dfe-ed48-4e74-a40f-4f7b034c1c27" providerId="ADAL" clId="{9E554EE2-F074-428C-8653-2CEE000EC49B}" dt="2021-01-21T09:45:00.176" v="642" actId="1076"/>
          <ac:spMkLst>
            <pc:docMk/>
            <pc:sldMk cId="1667945532" sldId="306"/>
            <ac:spMk id="28" creationId="{4492A3CD-6943-423D-BFEC-8129889E8B6F}"/>
          </ac:spMkLst>
        </pc:spChg>
        <pc:spChg chg="mod">
          <ac:chgData name="Meyer Raphael (PAR-ES)" userId="79615dfe-ed48-4e74-a40f-4f7b034c1c27" providerId="ADAL" clId="{9E554EE2-F074-428C-8653-2CEE000EC49B}" dt="2021-01-21T09:43:08.678" v="622" actId="20577"/>
          <ac:spMkLst>
            <pc:docMk/>
            <pc:sldMk cId="1667945532" sldId="306"/>
            <ac:spMk id="31" creationId="{7491A47D-CAD4-478D-8F3A-296FFCB799F9}"/>
          </ac:spMkLst>
        </pc:spChg>
        <pc:spChg chg="mod">
          <ac:chgData name="Meyer Raphael (PAR-ES)" userId="79615dfe-ed48-4e74-a40f-4f7b034c1c27" providerId="ADAL" clId="{9E554EE2-F074-428C-8653-2CEE000EC49B}" dt="2021-01-21T09:43:25.126" v="625" actId="1076"/>
          <ac:spMkLst>
            <pc:docMk/>
            <pc:sldMk cId="1667945532" sldId="306"/>
            <ac:spMk id="32" creationId="{E65DDA4F-7190-4D5B-B875-6818D18C9F6E}"/>
          </ac:spMkLst>
        </pc:spChg>
        <pc:spChg chg="add mod">
          <ac:chgData name="Meyer Raphael (PAR-ES)" userId="79615dfe-ed48-4e74-a40f-4f7b034c1c27" providerId="ADAL" clId="{9E554EE2-F074-428C-8653-2CEE000EC49B}" dt="2021-01-21T09:48:18.562" v="748" actId="552"/>
          <ac:spMkLst>
            <pc:docMk/>
            <pc:sldMk cId="1667945532" sldId="306"/>
            <ac:spMk id="33" creationId="{1263211D-7647-4ACE-B729-2338DF0FFB67}"/>
          </ac:spMkLst>
        </pc:spChg>
        <pc:spChg chg="del">
          <ac:chgData name="Meyer Raphael (PAR-ES)" userId="79615dfe-ed48-4e74-a40f-4f7b034c1c27" providerId="ADAL" clId="{9E554EE2-F074-428C-8653-2CEE000EC49B}" dt="2021-01-06T15:16:17.764" v="114" actId="478"/>
          <ac:spMkLst>
            <pc:docMk/>
            <pc:sldMk cId="1667945532" sldId="306"/>
            <ac:spMk id="33" creationId="{A80F7DEC-022D-4493-8CDE-E61BC06E6C43}"/>
          </ac:spMkLst>
        </pc:spChg>
        <pc:spChg chg="add del mod">
          <ac:chgData name="Meyer Raphael (PAR-ES)" userId="79615dfe-ed48-4e74-a40f-4f7b034c1c27" providerId="ADAL" clId="{9E554EE2-F074-428C-8653-2CEE000EC49B}" dt="2021-01-21T09:48:12.284" v="747" actId="478"/>
          <ac:spMkLst>
            <pc:docMk/>
            <pc:sldMk cId="1667945532" sldId="306"/>
            <ac:spMk id="36" creationId="{863FB436-F43E-46B0-806B-F99C48F0B088}"/>
          </ac:spMkLst>
        </pc:spChg>
        <pc:spChg chg="mod">
          <ac:chgData name="Meyer Raphael (PAR-ES)" userId="79615dfe-ed48-4e74-a40f-4f7b034c1c27" providerId="ADAL" clId="{9E554EE2-F074-428C-8653-2CEE000EC49B}" dt="2021-01-21T09:48:18.562" v="748" actId="552"/>
          <ac:spMkLst>
            <pc:docMk/>
            <pc:sldMk cId="1667945532" sldId="306"/>
            <ac:spMk id="37" creationId="{16628D91-C37D-41C8-A84A-DDEB3E2C1246}"/>
          </ac:spMkLst>
        </pc:spChg>
        <pc:graphicFrameChg chg="mod">
          <ac:chgData name="Meyer Raphael (PAR-ES)" userId="79615dfe-ed48-4e74-a40f-4f7b034c1c27" providerId="ADAL" clId="{9E554EE2-F074-428C-8653-2CEE000EC49B}" dt="2021-01-06T15:19:03.513" v="119" actId="692"/>
          <ac:graphicFrameMkLst>
            <pc:docMk/>
            <pc:sldMk cId="1667945532" sldId="306"/>
            <ac:graphicFrameMk id="24" creationId="{B6049B58-D743-4BF8-ADBD-2CBD12961E56}"/>
          </ac:graphicFrameMkLst>
        </pc:graphicFrameChg>
        <pc:cxnChg chg="mod">
          <ac:chgData name="Meyer Raphael (PAR-ES)" userId="79615dfe-ed48-4e74-a40f-4f7b034c1c27" providerId="ADAL" clId="{9E554EE2-F074-428C-8653-2CEE000EC49B}" dt="2021-01-21T09:51:23.619" v="766" actId="14100"/>
          <ac:cxnSpMkLst>
            <pc:docMk/>
            <pc:sldMk cId="1667945532" sldId="306"/>
            <ac:cxnSpMk id="29" creationId="{FD3E902F-283F-48FC-9504-FF2FF4EA4BF0}"/>
          </ac:cxnSpMkLst>
        </pc:cxnChg>
        <pc:cxnChg chg="mod">
          <ac:chgData name="Meyer Raphael (PAR-ES)" userId="79615dfe-ed48-4e74-a40f-4f7b034c1c27" providerId="ADAL" clId="{9E554EE2-F074-428C-8653-2CEE000EC49B}" dt="2021-01-21T09:51:57.105" v="773" actId="1038"/>
          <ac:cxnSpMkLst>
            <pc:docMk/>
            <pc:sldMk cId="1667945532" sldId="306"/>
            <ac:cxnSpMk id="30" creationId="{1D702FCA-793F-404B-84D5-F14C318BFFB3}"/>
          </ac:cxnSpMkLst>
        </pc:cxnChg>
      </pc:sldChg>
      <pc:sldChg chg="addSp modSp del ord">
        <pc:chgData name="Meyer Raphael (PAR-ES)" userId="79615dfe-ed48-4e74-a40f-4f7b034c1c27" providerId="ADAL" clId="{9E554EE2-F074-428C-8653-2CEE000EC49B}" dt="2021-01-07T07:48:23.034" v="224" actId="2696"/>
        <pc:sldMkLst>
          <pc:docMk/>
          <pc:sldMk cId="2802950074" sldId="315"/>
        </pc:sldMkLst>
        <pc:spChg chg="add mod">
          <ac:chgData name="Meyer Raphael (PAR-ES)" userId="79615dfe-ed48-4e74-a40f-4f7b034c1c27" providerId="ADAL" clId="{9E554EE2-F074-428C-8653-2CEE000EC49B}" dt="2021-01-06T17:05:30.657" v="209" actId="1076"/>
          <ac:spMkLst>
            <pc:docMk/>
            <pc:sldMk cId="2802950074" sldId="315"/>
            <ac:spMk id="3" creationId="{14E2C8E9-A1CC-44E6-8847-DA46874519E7}"/>
          </ac:spMkLst>
        </pc:spChg>
      </pc:sldChg>
      <pc:sldChg chg="addSp modSp del ord">
        <pc:chgData name="Meyer Raphael (PAR-ES)" userId="79615dfe-ed48-4e74-a40f-4f7b034c1c27" providerId="ADAL" clId="{9E554EE2-F074-428C-8653-2CEE000EC49B}" dt="2021-01-07T07:52:11.656" v="257" actId="2696"/>
        <pc:sldMkLst>
          <pc:docMk/>
          <pc:sldMk cId="3685268070" sldId="316"/>
        </pc:sldMkLst>
        <pc:spChg chg="add">
          <ac:chgData name="Meyer Raphael (PAR-ES)" userId="79615dfe-ed48-4e74-a40f-4f7b034c1c27" providerId="ADAL" clId="{9E554EE2-F074-428C-8653-2CEE000EC49B}" dt="2021-01-06T17:05:35.092" v="210"/>
          <ac:spMkLst>
            <pc:docMk/>
            <pc:sldMk cId="3685268070" sldId="316"/>
            <ac:spMk id="26" creationId="{E5D600FA-46CA-4EA1-9786-9B83ADB316DE}"/>
          </ac:spMkLst>
        </pc:spChg>
        <pc:spChg chg="add mod">
          <ac:chgData name="Meyer Raphael (PAR-ES)" userId="79615dfe-ed48-4e74-a40f-4f7b034c1c27" providerId="ADAL" clId="{9E554EE2-F074-428C-8653-2CEE000EC49B}" dt="2021-01-07T07:51:32.069" v="254" actId="1037"/>
          <ac:spMkLst>
            <pc:docMk/>
            <pc:sldMk cId="3685268070" sldId="316"/>
            <ac:spMk id="33" creationId="{4AD41BCF-05A3-491A-83AE-D05E92731014}"/>
          </ac:spMkLst>
        </pc:spChg>
        <pc:spChg chg="add mod">
          <ac:chgData name="Meyer Raphael (PAR-ES)" userId="79615dfe-ed48-4e74-a40f-4f7b034c1c27" providerId="ADAL" clId="{9E554EE2-F074-428C-8653-2CEE000EC49B}" dt="2021-01-07T07:51:32.069" v="254" actId="1037"/>
          <ac:spMkLst>
            <pc:docMk/>
            <pc:sldMk cId="3685268070" sldId="316"/>
            <ac:spMk id="37" creationId="{B2368178-7E32-42ED-8240-6A780FFF3D89}"/>
          </ac:spMkLst>
        </pc:spChg>
      </pc:sldChg>
      <pc:sldChg chg="addSp delSp modSp add del">
        <pc:chgData name="Meyer Raphael (PAR-ES)" userId="79615dfe-ed48-4e74-a40f-4f7b034c1c27" providerId="ADAL" clId="{9E554EE2-F074-428C-8653-2CEE000EC49B}" dt="2021-01-21T09:51:04.311" v="765" actId="2696"/>
        <pc:sldMkLst>
          <pc:docMk/>
          <pc:sldMk cId="4002282341" sldId="317"/>
        </pc:sldMkLst>
        <pc:spChg chg="mod">
          <ac:chgData name="Meyer Raphael (PAR-ES)" userId="79615dfe-ed48-4e74-a40f-4f7b034c1c27" providerId="ADAL" clId="{9E554EE2-F074-428C-8653-2CEE000EC49B}" dt="2021-01-07T07:46:17.135" v="215"/>
          <ac:spMkLst>
            <pc:docMk/>
            <pc:sldMk cId="4002282341" sldId="317"/>
            <ac:spMk id="2" creationId="{A2DC317F-F1F4-4624-8FC1-3B68C1DBB3DA}"/>
          </ac:spMkLst>
        </pc:spChg>
        <pc:spChg chg="del">
          <ac:chgData name="Meyer Raphael (PAR-ES)" userId="79615dfe-ed48-4e74-a40f-4f7b034c1c27" providerId="ADAL" clId="{9E554EE2-F074-428C-8653-2CEE000EC49B}" dt="2021-01-07T07:46:49.468" v="217" actId="478"/>
          <ac:spMkLst>
            <pc:docMk/>
            <pc:sldMk cId="4002282341" sldId="317"/>
            <ac:spMk id="7" creationId="{BA3F9A72-0541-4D1F-8CD8-1C2B8074FA1B}"/>
          </ac:spMkLst>
        </pc:spChg>
        <pc:spChg chg="mod">
          <ac:chgData name="Meyer Raphael (PAR-ES)" userId="79615dfe-ed48-4e74-a40f-4f7b034c1c27" providerId="ADAL" clId="{9E554EE2-F074-428C-8653-2CEE000EC49B}" dt="2021-01-07T07:47:14.787" v="220" actId="14100"/>
          <ac:spMkLst>
            <pc:docMk/>
            <pc:sldMk cId="4002282341" sldId="317"/>
            <ac:spMk id="8" creationId="{5857C2A1-2CB8-4D4A-AEFD-E809BF73D04F}"/>
          </ac:spMkLst>
        </pc:spChg>
        <pc:spChg chg="del">
          <ac:chgData name="Meyer Raphael (PAR-ES)" userId="79615dfe-ed48-4e74-a40f-4f7b034c1c27" providerId="ADAL" clId="{9E554EE2-F074-428C-8653-2CEE000EC49B}" dt="2021-01-07T07:46:49.468" v="217" actId="478"/>
          <ac:spMkLst>
            <pc:docMk/>
            <pc:sldMk cId="4002282341" sldId="317"/>
            <ac:spMk id="9" creationId="{B6990B61-32B2-4ADC-BF01-EDF7B4080F97}"/>
          </ac:spMkLst>
        </pc:spChg>
        <pc:spChg chg="mod">
          <ac:chgData name="Meyer Raphael (PAR-ES)" userId="79615dfe-ed48-4e74-a40f-4f7b034c1c27" providerId="ADAL" clId="{9E554EE2-F074-428C-8653-2CEE000EC49B}" dt="2021-01-07T07:46:28.892" v="216"/>
          <ac:spMkLst>
            <pc:docMk/>
            <pc:sldMk cId="4002282341" sldId="317"/>
            <ac:spMk id="10" creationId="{077DFD58-E5EE-4B68-9325-D935DB04DD40}"/>
          </ac:spMkLst>
        </pc:spChg>
        <pc:spChg chg="del">
          <ac:chgData name="Meyer Raphael (PAR-ES)" userId="79615dfe-ed48-4e74-a40f-4f7b034c1c27" providerId="ADAL" clId="{9E554EE2-F074-428C-8653-2CEE000EC49B}" dt="2021-01-07T07:46:49.468" v="217" actId="478"/>
          <ac:spMkLst>
            <pc:docMk/>
            <pc:sldMk cId="4002282341" sldId="317"/>
            <ac:spMk id="17" creationId="{785E740C-F94A-4208-8DFD-63A603C16577}"/>
          </ac:spMkLst>
        </pc:spChg>
        <pc:spChg chg="del">
          <ac:chgData name="Meyer Raphael (PAR-ES)" userId="79615dfe-ed48-4e74-a40f-4f7b034c1c27" providerId="ADAL" clId="{9E554EE2-F074-428C-8653-2CEE000EC49B}" dt="2021-01-07T07:46:49.468" v="217" actId="478"/>
          <ac:spMkLst>
            <pc:docMk/>
            <pc:sldMk cId="4002282341" sldId="317"/>
            <ac:spMk id="26" creationId="{BFD498B5-D73E-4C8A-9FAF-B3547647538C}"/>
          </ac:spMkLst>
        </pc:spChg>
        <pc:spChg chg="mod">
          <ac:chgData name="Meyer Raphael (PAR-ES)" userId="79615dfe-ed48-4e74-a40f-4f7b034c1c27" providerId="ADAL" clId="{9E554EE2-F074-428C-8653-2CEE000EC49B}" dt="2021-01-07T07:47:30.035" v="221"/>
          <ac:spMkLst>
            <pc:docMk/>
            <pc:sldMk cId="4002282341" sldId="317"/>
            <ac:spMk id="27" creationId="{46A6B042-39EE-4A58-BBAA-13D52264B660}"/>
          </ac:spMkLst>
        </pc:spChg>
        <pc:spChg chg="add">
          <ac:chgData name="Meyer Raphael (PAR-ES)" userId="79615dfe-ed48-4e74-a40f-4f7b034c1c27" providerId="ADAL" clId="{9E554EE2-F074-428C-8653-2CEE000EC49B}" dt="2021-01-07T07:47:01.095" v="218"/>
          <ac:spMkLst>
            <pc:docMk/>
            <pc:sldMk cId="4002282341" sldId="317"/>
            <ac:spMk id="33" creationId="{58CCEB20-61A6-4ADF-A55A-701CA7752C4F}"/>
          </ac:spMkLst>
        </pc:spChg>
        <pc:spChg chg="add">
          <ac:chgData name="Meyer Raphael (PAR-ES)" userId="79615dfe-ed48-4e74-a40f-4f7b034c1c27" providerId="ADAL" clId="{9E554EE2-F074-428C-8653-2CEE000EC49B}" dt="2021-01-07T07:47:01.095" v="218"/>
          <ac:spMkLst>
            <pc:docMk/>
            <pc:sldMk cId="4002282341" sldId="317"/>
            <ac:spMk id="38" creationId="{833A0CCD-5D5F-45A1-A5EC-4A0473EC3778}"/>
          </ac:spMkLst>
        </pc:spChg>
        <pc:spChg chg="add">
          <ac:chgData name="Meyer Raphael (PAR-ES)" userId="79615dfe-ed48-4e74-a40f-4f7b034c1c27" providerId="ADAL" clId="{9E554EE2-F074-428C-8653-2CEE000EC49B}" dt="2021-01-07T07:47:01.095" v="218"/>
          <ac:spMkLst>
            <pc:docMk/>
            <pc:sldMk cId="4002282341" sldId="317"/>
            <ac:spMk id="39" creationId="{A5C99738-3034-4B43-9EEA-6B1B8BD3E2ED}"/>
          </ac:spMkLst>
        </pc:spChg>
        <pc:spChg chg="add">
          <ac:chgData name="Meyer Raphael (PAR-ES)" userId="79615dfe-ed48-4e74-a40f-4f7b034c1c27" providerId="ADAL" clId="{9E554EE2-F074-428C-8653-2CEE000EC49B}" dt="2021-01-07T07:47:01.095" v="218"/>
          <ac:spMkLst>
            <pc:docMk/>
            <pc:sldMk cId="4002282341" sldId="317"/>
            <ac:spMk id="40" creationId="{C22B499A-D29F-413A-BED8-752713A912E6}"/>
          </ac:spMkLst>
        </pc:spChg>
        <pc:cxnChg chg="mod">
          <ac:chgData name="Meyer Raphael (PAR-ES)" userId="79615dfe-ed48-4e74-a40f-4f7b034c1c27" providerId="ADAL" clId="{9E554EE2-F074-428C-8653-2CEE000EC49B}" dt="2021-01-07T07:50:56.983" v="248" actId="1038"/>
          <ac:cxnSpMkLst>
            <pc:docMk/>
            <pc:sldMk cId="4002282341" sldId="317"/>
            <ac:cxnSpMk id="30" creationId="{1D702FCA-793F-404B-84D5-F14C318BFFB3}"/>
          </ac:cxnSpMkLst>
        </pc:cxnChg>
      </pc:sldChg>
      <pc:sldChg chg="addSp delSp modSp add del">
        <pc:chgData name="Meyer Raphael (PAR-ES)" userId="79615dfe-ed48-4e74-a40f-4f7b034c1c27" providerId="ADAL" clId="{9E554EE2-F074-428C-8653-2CEE000EC49B}" dt="2021-01-21T09:56:56.178" v="869" actId="2696"/>
        <pc:sldMkLst>
          <pc:docMk/>
          <pc:sldMk cId="2645933736" sldId="318"/>
        </pc:sldMkLst>
        <pc:spChg chg="mod">
          <ac:chgData name="Meyer Raphael (PAR-ES)" userId="79615dfe-ed48-4e74-a40f-4f7b034c1c27" providerId="ADAL" clId="{9E554EE2-F074-428C-8653-2CEE000EC49B}" dt="2021-01-07T07:48:48.206" v="225"/>
          <ac:spMkLst>
            <pc:docMk/>
            <pc:sldMk cId="2645933736" sldId="318"/>
            <ac:spMk id="2" creationId="{A2DC317F-F1F4-4624-8FC1-3B68C1DBB3DA}"/>
          </ac:spMkLst>
        </pc:spChg>
        <pc:spChg chg="add del">
          <ac:chgData name="Meyer Raphael (PAR-ES)" userId="79615dfe-ed48-4e74-a40f-4f7b034c1c27" providerId="ADAL" clId="{9E554EE2-F074-428C-8653-2CEE000EC49B}" dt="2021-01-07T07:51:24.201" v="251"/>
          <ac:spMkLst>
            <pc:docMk/>
            <pc:sldMk cId="2645933736" sldId="318"/>
            <ac:spMk id="6" creationId="{C4599114-3BAB-4799-8583-AC60FF73F79E}"/>
          </ac:spMkLst>
        </pc:spChg>
        <pc:spChg chg="del mod">
          <ac:chgData name="Meyer Raphael (PAR-ES)" userId="79615dfe-ed48-4e74-a40f-4f7b034c1c27" providerId="ADAL" clId="{9E554EE2-F074-428C-8653-2CEE000EC49B}" dt="2021-01-07T07:49:07.205" v="228" actId="478"/>
          <ac:spMkLst>
            <pc:docMk/>
            <pc:sldMk cId="2645933736" sldId="318"/>
            <ac:spMk id="7" creationId="{BA3F9A72-0541-4D1F-8CD8-1C2B8074FA1B}"/>
          </ac:spMkLst>
        </pc:spChg>
        <pc:spChg chg="mod">
          <ac:chgData name="Meyer Raphael (PAR-ES)" userId="79615dfe-ed48-4e74-a40f-4f7b034c1c27" providerId="ADAL" clId="{9E554EE2-F074-428C-8653-2CEE000EC49B}" dt="2021-01-07T07:49:29.159" v="231" actId="14100"/>
          <ac:spMkLst>
            <pc:docMk/>
            <pc:sldMk cId="2645933736" sldId="318"/>
            <ac:spMk id="8" creationId="{5857C2A1-2CB8-4D4A-AEFD-E809BF73D04F}"/>
          </ac:spMkLst>
        </pc:spChg>
        <pc:spChg chg="del mod">
          <ac:chgData name="Meyer Raphael (PAR-ES)" userId="79615dfe-ed48-4e74-a40f-4f7b034c1c27" providerId="ADAL" clId="{9E554EE2-F074-428C-8653-2CEE000EC49B}" dt="2021-01-07T07:49:07.205" v="228" actId="478"/>
          <ac:spMkLst>
            <pc:docMk/>
            <pc:sldMk cId="2645933736" sldId="318"/>
            <ac:spMk id="9" creationId="{B6990B61-32B2-4ADC-BF01-EDF7B4080F97}"/>
          </ac:spMkLst>
        </pc:spChg>
        <pc:spChg chg="mod">
          <ac:chgData name="Meyer Raphael (PAR-ES)" userId="79615dfe-ed48-4e74-a40f-4f7b034c1c27" providerId="ADAL" clId="{9E554EE2-F074-428C-8653-2CEE000EC49B}" dt="2021-01-07T07:49:00.065" v="226"/>
          <ac:spMkLst>
            <pc:docMk/>
            <pc:sldMk cId="2645933736" sldId="318"/>
            <ac:spMk id="10" creationId="{077DFD58-E5EE-4B68-9325-D935DB04DD40}"/>
          </ac:spMkLst>
        </pc:spChg>
        <pc:spChg chg="del mod">
          <ac:chgData name="Meyer Raphael (PAR-ES)" userId="79615dfe-ed48-4e74-a40f-4f7b034c1c27" providerId="ADAL" clId="{9E554EE2-F074-428C-8653-2CEE000EC49B}" dt="2021-01-07T07:49:07.205" v="228" actId="478"/>
          <ac:spMkLst>
            <pc:docMk/>
            <pc:sldMk cId="2645933736" sldId="318"/>
            <ac:spMk id="17" creationId="{785E740C-F94A-4208-8DFD-63A603C16577}"/>
          </ac:spMkLst>
        </pc:spChg>
        <pc:spChg chg="del">
          <ac:chgData name="Meyer Raphael (PAR-ES)" userId="79615dfe-ed48-4e74-a40f-4f7b034c1c27" providerId="ADAL" clId="{9E554EE2-F074-428C-8653-2CEE000EC49B}" dt="2021-01-07T07:49:07.205" v="228" actId="478"/>
          <ac:spMkLst>
            <pc:docMk/>
            <pc:sldMk cId="2645933736" sldId="318"/>
            <ac:spMk id="26" creationId="{BFD498B5-D73E-4C8A-9FAF-B3547647538C}"/>
          </ac:spMkLst>
        </pc:spChg>
        <pc:spChg chg="mod">
          <ac:chgData name="Meyer Raphael (PAR-ES)" userId="79615dfe-ed48-4e74-a40f-4f7b034c1c27" providerId="ADAL" clId="{9E554EE2-F074-428C-8653-2CEE000EC49B}" dt="2021-01-07T07:49:51.343" v="235" actId="14100"/>
          <ac:spMkLst>
            <pc:docMk/>
            <pc:sldMk cId="2645933736" sldId="318"/>
            <ac:spMk id="27" creationId="{46A6B042-39EE-4A58-BBAA-13D52264B660}"/>
          </ac:spMkLst>
        </pc:spChg>
        <pc:spChg chg="add mod">
          <ac:chgData name="Meyer Raphael (PAR-ES)" userId="79615dfe-ed48-4e74-a40f-4f7b034c1c27" providerId="ADAL" clId="{9E554EE2-F074-428C-8653-2CEE000EC49B}" dt="2021-01-21T09:53:09.666" v="784" actId="1076"/>
          <ac:spMkLst>
            <pc:docMk/>
            <pc:sldMk cId="2645933736" sldId="318"/>
            <ac:spMk id="33" creationId="{80E2488D-C047-4150-AC1F-D4E89DE99EA0}"/>
          </ac:spMkLst>
        </pc:spChg>
        <pc:spChg chg="del">
          <ac:chgData name="Meyer Raphael (PAR-ES)" userId="79615dfe-ed48-4e74-a40f-4f7b034c1c27" providerId="ADAL" clId="{9E554EE2-F074-428C-8653-2CEE000EC49B}" dt="2021-01-07T07:51:21.013" v="249" actId="478"/>
          <ac:spMkLst>
            <pc:docMk/>
            <pc:sldMk cId="2645933736" sldId="318"/>
            <ac:spMk id="36" creationId="{863FB436-F43E-46B0-806B-F99C48F0B088}"/>
          </ac:spMkLst>
        </pc:spChg>
        <pc:spChg chg="del">
          <ac:chgData name="Meyer Raphael (PAR-ES)" userId="79615dfe-ed48-4e74-a40f-4f7b034c1c27" providerId="ADAL" clId="{9E554EE2-F074-428C-8653-2CEE000EC49B}" dt="2021-01-07T07:51:21.013" v="249" actId="478"/>
          <ac:spMkLst>
            <pc:docMk/>
            <pc:sldMk cId="2645933736" sldId="318"/>
            <ac:spMk id="37" creationId="{16628D91-C37D-41C8-A84A-DDEB3E2C1246}"/>
          </ac:spMkLst>
        </pc:spChg>
        <pc:spChg chg="add mod">
          <ac:chgData name="Meyer Raphael (PAR-ES)" userId="79615dfe-ed48-4e74-a40f-4f7b034c1c27" providerId="ADAL" clId="{9E554EE2-F074-428C-8653-2CEE000EC49B}" dt="2021-01-21T09:53:09.666" v="784" actId="1076"/>
          <ac:spMkLst>
            <pc:docMk/>
            <pc:sldMk cId="2645933736" sldId="318"/>
            <ac:spMk id="38" creationId="{433E5755-DF97-4935-B55B-8FE60687245C}"/>
          </ac:spMkLst>
        </pc:spChg>
        <pc:spChg chg="add">
          <ac:chgData name="Meyer Raphael (PAR-ES)" userId="79615dfe-ed48-4e74-a40f-4f7b034c1c27" providerId="ADAL" clId="{9E554EE2-F074-428C-8653-2CEE000EC49B}" dt="2021-01-07T07:49:15.818" v="229"/>
          <ac:spMkLst>
            <pc:docMk/>
            <pc:sldMk cId="2645933736" sldId="318"/>
            <ac:spMk id="39" creationId="{FE186E75-D186-4772-93F4-4F2F80AEAE50}"/>
          </ac:spMkLst>
        </pc:spChg>
        <pc:spChg chg="add">
          <ac:chgData name="Meyer Raphael (PAR-ES)" userId="79615dfe-ed48-4e74-a40f-4f7b034c1c27" providerId="ADAL" clId="{9E554EE2-F074-428C-8653-2CEE000EC49B}" dt="2021-01-07T07:49:15.818" v="229"/>
          <ac:spMkLst>
            <pc:docMk/>
            <pc:sldMk cId="2645933736" sldId="318"/>
            <ac:spMk id="40" creationId="{805111CA-E54D-40DD-845E-7DC257217600}"/>
          </ac:spMkLst>
        </pc:spChg>
        <pc:spChg chg="add mod">
          <ac:chgData name="Meyer Raphael (PAR-ES)" userId="79615dfe-ed48-4e74-a40f-4f7b034c1c27" providerId="ADAL" clId="{9E554EE2-F074-428C-8653-2CEE000EC49B}" dt="2021-01-07T07:53:31.415" v="306" actId="552"/>
          <ac:spMkLst>
            <pc:docMk/>
            <pc:sldMk cId="2645933736" sldId="318"/>
            <ac:spMk id="41" creationId="{D401EFED-E703-4D49-956F-221AF9E5347F}"/>
          </ac:spMkLst>
        </pc:spChg>
        <pc:spChg chg="add del mod">
          <ac:chgData name="Meyer Raphael (PAR-ES)" userId="79615dfe-ed48-4e74-a40f-4f7b034c1c27" providerId="ADAL" clId="{9E554EE2-F074-428C-8653-2CEE000EC49B}" dt="2021-01-07T07:53:14.057" v="271" actId="478"/>
          <ac:spMkLst>
            <pc:docMk/>
            <pc:sldMk cId="2645933736" sldId="318"/>
            <ac:spMk id="42" creationId="{FEB90A47-59A6-4994-B4EA-3CF72EB320B2}"/>
          </ac:spMkLst>
        </pc:spChg>
        <pc:spChg chg="add mod">
          <ac:chgData name="Meyer Raphael (PAR-ES)" userId="79615dfe-ed48-4e74-a40f-4f7b034c1c27" providerId="ADAL" clId="{9E554EE2-F074-428C-8653-2CEE000EC49B}" dt="2021-01-07T07:53:31.415" v="306" actId="552"/>
          <ac:spMkLst>
            <pc:docMk/>
            <pc:sldMk cId="2645933736" sldId="318"/>
            <ac:spMk id="43" creationId="{791E4A68-9F08-41F1-A948-D70410F3E3E7}"/>
          </ac:spMkLst>
        </pc:spChg>
        <pc:cxnChg chg="mod">
          <ac:chgData name="Meyer Raphael (PAR-ES)" userId="79615dfe-ed48-4e74-a40f-4f7b034c1c27" providerId="ADAL" clId="{9E554EE2-F074-428C-8653-2CEE000EC49B}" dt="2021-01-07T07:50:33.944" v="242" actId="1038"/>
          <ac:cxnSpMkLst>
            <pc:docMk/>
            <pc:sldMk cId="2645933736" sldId="318"/>
            <ac:cxnSpMk id="30" creationId="{1D702FCA-793F-404B-84D5-F14C318BFFB3}"/>
          </ac:cxnSpMkLst>
        </pc:cxnChg>
      </pc:sldChg>
      <pc:sldChg chg="modSp add mod">
        <pc:chgData name="Meyer Raphael (PAR-ES)" userId="79615dfe-ed48-4e74-a40f-4f7b034c1c27" providerId="ADAL" clId="{9E554EE2-F074-428C-8653-2CEE000EC49B}" dt="2021-01-12T08:30:20.013" v="532" actId="20577"/>
        <pc:sldMkLst>
          <pc:docMk/>
          <pc:sldMk cId="2817904021" sldId="319"/>
        </pc:sldMkLst>
        <pc:spChg chg="mod">
          <ac:chgData name="Meyer Raphael (PAR-ES)" userId="79615dfe-ed48-4e74-a40f-4f7b034c1c27" providerId="ADAL" clId="{9E554EE2-F074-428C-8653-2CEE000EC49B}" dt="2021-01-12T08:30:20.013" v="532" actId="20577"/>
          <ac:spMkLst>
            <pc:docMk/>
            <pc:sldMk cId="2817904021" sldId="319"/>
            <ac:spMk id="2" creationId="{A2DC317F-F1F4-4624-8FC1-3B68C1DBB3DA}"/>
          </ac:spMkLst>
        </pc:spChg>
        <pc:spChg chg="mod">
          <ac:chgData name="Meyer Raphael (PAR-ES)" userId="79615dfe-ed48-4e74-a40f-4f7b034c1c27" providerId="ADAL" clId="{9E554EE2-F074-428C-8653-2CEE000EC49B}" dt="2021-01-07T10:26:38.089" v="449" actId="20577"/>
          <ac:spMkLst>
            <pc:docMk/>
            <pc:sldMk cId="2817904021" sldId="319"/>
            <ac:spMk id="7" creationId="{51421822-C303-4FC2-BF5E-F4377E568635}"/>
          </ac:spMkLst>
        </pc:spChg>
        <pc:spChg chg="mod">
          <ac:chgData name="Meyer Raphael (PAR-ES)" userId="79615dfe-ed48-4e74-a40f-4f7b034c1c27" providerId="ADAL" clId="{9E554EE2-F074-428C-8653-2CEE000EC49B}" dt="2021-01-07T10:25:43.574" v="435"/>
          <ac:spMkLst>
            <pc:docMk/>
            <pc:sldMk cId="2817904021" sldId="319"/>
            <ac:spMk id="10" creationId="{077DFD58-E5EE-4B68-9325-D935DB04DD40}"/>
          </ac:spMkLst>
        </pc:spChg>
      </pc:sldChg>
      <pc:sldChg chg="modSp add mod">
        <pc:chgData name="Meyer Raphael (PAR-ES)" userId="79615dfe-ed48-4e74-a40f-4f7b034c1c27" providerId="ADAL" clId="{9E554EE2-F074-428C-8653-2CEE000EC49B}" dt="2021-01-12T08:30:48.964" v="551" actId="20577"/>
        <pc:sldMkLst>
          <pc:docMk/>
          <pc:sldMk cId="202659337" sldId="320"/>
        </pc:sldMkLst>
        <pc:spChg chg="mod">
          <ac:chgData name="Meyer Raphael (PAR-ES)" userId="79615dfe-ed48-4e74-a40f-4f7b034c1c27" providerId="ADAL" clId="{9E554EE2-F074-428C-8653-2CEE000EC49B}" dt="2021-01-12T08:30:48.964" v="551" actId="20577"/>
          <ac:spMkLst>
            <pc:docMk/>
            <pc:sldMk cId="202659337" sldId="320"/>
            <ac:spMk id="2" creationId="{A2DC317F-F1F4-4624-8FC1-3B68C1DBB3DA}"/>
          </ac:spMkLst>
        </pc:spChg>
        <pc:spChg chg="mod">
          <ac:chgData name="Meyer Raphael (PAR-ES)" userId="79615dfe-ed48-4e74-a40f-4f7b034c1c27" providerId="ADAL" clId="{9E554EE2-F074-428C-8653-2CEE000EC49B}" dt="2021-01-07T10:31:32.601" v="480" actId="1076"/>
          <ac:spMkLst>
            <pc:docMk/>
            <pc:sldMk cId="202659337" sldId="320"/>
            <ac:spMk id="6" creationId="{0EEE4EA3-E16E-424B-97F9-53A8F5D585AE}"/>
          </ac:spMkLst>
        </pc:spChg>
        <pc:spChg chg="mod">
          <ac:chgData name="Meyer Raphael (PAR-ES)" userId="79615dfe-ed48-4e74-a40f-4f7b034c1c27" providerId="ADAL" clId="{9E554EE2-F074-428C-8653-2CEE000EC49B}" dt="2021-01-07T10:26:44.985" v="455" actId="20577"/>
          <ac:spMkLst>
            <pc:docMk/>
            <pc:sldMk cId="202659337" sldId="320"/>
            <ac:spMk id="7" creationId="{51421822-C303-4FC2-BF5E-F4377E568635}"/>
          </ac:spMkLst>
        </pc:spChg>
        <pc:spChg chg="mod">
          <ac:chgData name="Meyer Raphael (PAR-ES)" userId="79615dfe-ed48-4e74-a40f-4f7b034c1c27" providerId="ADAL" clId="{9E554EE2-F074-428C-8653-2CEE000EC49B}" dt="2021-01-07T10:26:22.838" v="437"/>
          <ac:spMkLst>
            <pc:docMk/>
            <pc:sldMk cId="202659337" sldId="320"/>
            <ac:spMk id="10" creationId="{077DFD58-E5EE-4B68-9325-D935DB04DD40}"/>
          </ac:spMkLst>
        </pc:spChg>
        <pc:spChg chg="mod">
          <ac:chgData name="Meyer Raphael (PAR-ES)" userId="79615dfe-ed48-4e74-a40f-4f7b034c1c27" providerId="ADAL" clId="{9E554EE2-F074-428C-8653-2CEE000EC49B}" dt="2021-01-07T10:28:57.132" v="465" actId="20577"/>
          <ac:spMkLst>
            <pc:docMk/>
            <pc:sldMk cId="202659337" sldId="320"/>
            <ac:spMk id="15" creationId="{CC1F0CCA-7B55-41F9-A1FF-769ED7C753BD}"/>
          </ac:spMkLst>
        </pc:spChg>
        <pc:graphicFrameChg chg="mod">
          <ac:chgData name="Meyer Raphael (PAR-ES)" userId="79615dfe-ed48-4e74-a40f-4f7b034c1c27" providerId="ADAL" clId="{9E554EE2-F074-428C-8653-2CEE000EC49B}" dt="2021-01-07T10:31:26.811" v="479"/>
          <ac:graphicFrameMkLst>
            <pc:docMk/>
            <pc:sldMk cId="202659337" sldId="320"/>
            <ac:graphicFrameMk id="5" creationId="{4CF6AB8B-CAB9-4C7E-8E59-E00357A4D7F0}"/>
          </ac:graphicFrameMkLst>
        </pc:graphicFrameChg>
      </pc:sldChg>
      <pc:sldChg chg="addSp delSp modSp add ord">
        <pc:chgData name="Meyer Raphael (PAR-ES)" userId="79615dfe-ed48-4e74-a40f-4f7b034c1c27" providerId="ADAL" clId="{9E554EE2-F074-428C-8653-2CEE000EC49B}" dt="2021-01-21T09:56:37.710" v="868" actId="552"/>
        <pc:sldMkLst>
          <pc:docMk/>
          <pc:sldMk cId="1323358563" sldId="321"/>
        </pc:sldMkLst>
        <pc:spChg chg="mod">
          <ac:chgData name="Meyer Raphael (PAR-ES)" userId="79615dfe-ed48-4e74-a40f-4f7b034c1c27" providerId="ADAL" clId="{9E554EE2-F074-428C-8653-2CEE000EC49B}" dt="2021-01-21T09:53:31.860" v="786"/>
          <ac:spMkLst>
            <pc:docMk/>
            <pc:sldMk cId="1323358563" sldId="321"/>
            <ac:spMk id="2" creationId="{A2DC317F-F1F4-4624-8FC1-3B68C1DBB3DA}"/>
          </ac:spMkLst>
        </pc:spChg>
        <pc:spChg chg="del">
          <ac:chgData name="Meyer Raphael (PAR-ES)" userId="79615dfe-ed48-4e74-a40f-4f7b034c1c27" providerId="ADAL" clId="{9E554EE2-F074-428C-8653-2CEE000EC49B}" dt="2021-01-21T09:52:59.490" v="780" actId="478"/>
          <ac:spMkLst>
            <pc:docMk/>
            <pc:sldMk cId="1323358563" sldId="321"/>
            <ac:spMk id="7" creationId="{BA3F9A72-0541-4D1F-8CD8-1C2B8074FA1B}"/>
          </ac:spMkLst>
        </pc:spChg>
        <pc:spChg chg="del mod">
          <ac:chgData name="Meyer Raphael (PAR-ES)" userId="79615dfe-ed48-4e74-a40f-4f7b034c1c27" providerId="ADAL" clId="{9E554EE2-F074-428C-8653-2CEE000EC49B}" dt="2021-01-21T09:53:04.407" v="782" actId="478"/>
          <ac:spMkLst>
            <pc:docMk/>
            <pc:sldMk cId="1323358563" sldId="321"/>
            <ac:spMk id="8" creationId="{5857C2A1-2CB8-4D4A-AEFD-E809BF73D04F}"/>
          </ac:spMkLst>
        </pc:spChg>
        <pc:spChg chg="del">
          <ac:chgData name="Meyer Raphael (PAR-ES)" userId="79615dfe-ed48-4e74-a40f-4f7b034c1c27" providerId="ADAL" clId="{9E554EE2-F074-428C-8653-2CEE000EC49B}" dt="2021-01-21T09:52:59.490" v="780" actId="478"/>
          <ac:spMkLst>
            <pc:docMk/>
            <pc:sldMk cId="1323358563" sldId="321"/>
            <ac:spMk id="9" creationId="{B6990B61-32B2-4ADC-BF01-EDF7B4080F97}"/>
          </ac:spMkLst>
        </pc:spChg>
        <pc:spChg chg="mod">
          <ac:chgData name="Meyer Raphael (PAR-ES)" userId="79615dfe-ed48-4e74-a40f-4f7b034c1c27" providerId="ADAL" clId="{9E554EE2-F074-428C-8653-2CEE000EC49B}" dt="2021-01-21T09:53:42.141" v="787"/>
          <ac:spMkLst>
            <pc:docMk/>
            <pc:sldMk cId="1323358563" sldId="321"/>
            <ac:spMk id="10" creationId="{077DFD58-E5EE-4B68-9325-D935DB04DD40}"/>
          </ac:spMkLst>
        </pc:spChg>
        <pc:spChg chg="del">
          <ac:chgData name="Meyer Raphael (PAR-ES)" userId="79615dfe-ed48-4e74-a40f-4f7b034c1c27" providerId="ADAL" clId="{9E554EE2-F074-428C-8653-2CEE000EC49B}" dt="2021-01-21T09:52:59.490" v="780" actId="478"/>
          <ac:spMkLst>
            <pc:docMk/>
            <pc:sldMk cId="1323358563" sldId="321"/>
            <ac:spMk id="17" creationId="{785E740C-F94A-4208-8DFD-63A603C16577}"/>
          </ac:spMkLst>
        </pc:spChg>
        <pc:spChg chg="del">
          <ac:chgData name="Meyer Raphael (PAR-ES)" userId="79615dfe-ed48-4e74-a40f-4f7b034c1c27" providerId="ADAL" clId="{9E554EE2-F074-428C-8653-2CEE000EC49B}" dt="2021-01-21T09:52:59.490" v="780" actId="478"/>
          <ac:spMkLst>
            <pc:docMk/>
            <pc:sldMk cId="1323358563" sldId="321"/>
            <ac:spMk id="26" creationId="{BFD498B5-D73E-4C8A-9FAF-B3547647538C}"/>
          </ac:spMkLst>
        </pc:spChg>
        <pc:spChg chg="mod">
          <ac:chgData name="Meyer Raphael (PAR-ES)" userId="79615dfe-ed48-4e74-a40f-4f7b034c1c27" providerId="ADAL" clId="{9E554EE2-F074-428C-8653-2CEE000EC49B}" dt="2021-01-21T09:54:09.324" v="793" actId="14100"/>
          <ac:spMkLst>
            <pc:docMk/>
            <pc:sldMk cId="1323358563" sldId="321"/>
            <ac:spMk id="27" creationId="{46A6B042-39EE-4A58-BBAA-13D52264B660}"/>
          </ac:spMkLst>
        </pc:spChg>
        <pc:spChg chg="del mod">
          <ac:chgData name="Meyer Raphael (PAR-ES)" userId="79615dfe-ed48-4e74-a40f-4f7b034c1c27" providerId="ADAL" clId="{9E554EE2-F074-428C-8653-2CEE000EC49B}" dt="2021-01-21T09:56:32.460" v="867" actId="478"/>
          <ac:spMkLst>
            <pc:docMk/>
            <pc:sldMk cId="1323358563" sldId="321"/>
            <ac:spMk id="33" creationId="{1263211D-7647-4ACE-B729-2338DF0FFB67}"/>
          </ac:spMkLst>
        </pc:spChg>
        <pc:spChg chg="add mod">
          <ac:chgData name="Meyer Raphael (PAR-ES)" userId="79615dfe-ed48-4e74-a40f-4f7b034c1c27" providerId="ADAL" clId="{9E554EE2-F074-428C-8653-2CEE000EC49B}" dt="2021-01-21T09:53:52.034" v="790" actId="20577"/>
          <ac:spMkLst>
            <pc:docMk/>
            <pc:sldMk cId="1323358563" sldId="321"/>
            <ac:spMk id="36" creationId="{D4DC81BC-ED45-48EA-A1B6-5307733395E7}"/>
          </ac:spMkLst>
        </pc:spChg>
        <pc:spChg chg="del">
          <ac:chgData name="Meyer Raphael (PAR-ES)" userId="79615dfe-ed48-4e74-a40f-4f7b034c1c27" providerId="ADAL" clId="{9E554EE2-F074-428C-8653-2CEE000EC49B}" dt="2021-01-21T09:55:28.730" v="800" actId="478"/>
          <ac:spMkLst>
            <pc:docMk/>
            <pc:sldMk cId="1323358563" sldId="321"/>
            <ac:spMk id="37" creationId="{16628D91-C37D-41C8-A84A-DDEB3E2C1246}"/>
          </ac:spMkLst>
        </pc:spChg>
        <pc:spChg chg="add">
          <ac:chgData name="Meyer Raphael (PAR-ES)" userId="79615dfe-ed48-4e74-a40f-4f7b034c1c27" providerId="ADAL" clId="{9E554EE2-F074-428C-8653-2CEE000EC49B}" dt="2021-01-21T09:53:18.266" v="785"/>
          <ac:spMkLst>
            <pc:docMk/>
            <pc:sldMk cId="1323358563" sldId="321"/>
            <ac:spMk id="38" creationId="{185C337F-F04B-4458-8929-AFEFB8A30B93}"/>
          </ac:spMkLst>
        </pc:spChg>
        <pc:spChg chg="add">
          <ac:chgData name="Meyer Raphael (PAR-ES)" userId="79615dfe-ed48-4e74-a40f-4f7b034c1c27" providerId="ADAL" clId="{9E554EE2-F074-428C-8653-2CEE000EC49B}" dt="2021-01-21T09:53:18.266" v="785"/>
          <ac:spMkLst>
            <pc:docMk/>
            <pc:sldMk cId="1323358563" sldId="321"/>
            <ac:spMk id="39" creationId="{3C3BAB7D-B76A-431B-A3CF-E8E9874AEDDB}"/>
          </ac:spMkLst>
        </pc:spChg>
        <pc:spChg chg="add">
          <ac:chgData name="Meyer Raphael (PAR-ES)" userId="79615dfe-ed48-4e74-a40f-4f7b034c1c27" providerId="ADAL" clId="{9E554EE2-F074-428C-8653-2CEE000EC49B}" dt="2021-01-21T09:53:18.266" v="785"/>
          <ac:spMkLst>
            <pc:docMk/>
            <pc:sldMk cId="1323358563" sldId="321"/>
            <ac:spMk id="40" creationId="{2405526E-D266-4909-9826-2E610648D89E}"/>
          </ac:spMkLst>
        </pc:spChg>
        <pc:spChg chg="add">
          <ac:chgData name="Meyer Raphael (PAR-ES)" userId="79615dfe-ed48-4e74-a40f-4f7b034c1c27" providerId="ADAL" clId="{9E554EE2-F074-428C-8653-2CEE000EC49B}" dt="2021-01-21T09:53:18.266" v="785"/>
          <ac:spMkLst>
            <pc:docMk/>
            <pc:sldMk cId="1323358563" sldId="321"/>
            <ac:spMk id="41" creationId="{57EC8687-199B-4B69-8E09-2647FB2A97CC}"/>
          </ac:spMkLst>
        </pc:spChg>
        <pc:spChg chg="add del">
          <ac:chgData name="Meyer Raphael (PAR-ES)" userId="79615dfe-ed48-4e74-a40f-4f7b034c1c27" providerId="ADAL" clId="{9E554EE2-F074-428C-8653-2CEE000EC49B}" dt="2021-01-21T09:55:24.111" v="799"/>
          <ac:spMkLst>
            <pc:docMk/>
            <pc:sldMk cId="1323358563" sldId="321"/>
            <ac:spMk id="42" creationId="{472566B9-E38B-4D71-AE34-470B18EB997C}"/>
          </ac:spMkLst>
        </pc:spChg>
        <pc:spChg chg="add mod">
          <ac:chgData name="Meyer Raphael (PAR-ES)" userId="79615dfe-ed48-4e74-a40f-4f7b034c1c27" providerId="ADAL" clId="{9E554EE2-F074-428C-8653-2CEE000EC49B}" dt="2021-01-21T09:56:37.710" v="868" actId="552"/>
          <ac:spMkLst>
            <pc:docMk/>
            <pc:sldMk cId="1323358563" sldId="321"/>
            <ac:spMk id="43" creationId="{FF6F8D55-77CB-45DC-9997-9ECD8E1AAF90}"/>
          </ac:spMkLst>
        </pc:spChg>
        <pc:spChg chg="add mod">
          <ac:chgData name="Meyer Raphael (PAR-ES)" userId="79615dfe-ed48-4e74-a40f-4f7b034c1c27" providerId="ADAL" clId="{9E554EE2-F074-428C-8653-2CEE000EC49B}" dt="2021-01-21T09:56:37.710" v="868" actId="552"/>
          <ac:spMkLst>
            <pc:docMk/>
            <pc:sldMk cId="1323358563" sldId="321"/>
            <ac:spMk id="44" creationId="{6576F584-D2E4-4879-9894-BD2255E8118E}"/>
          </ac:spMkLst>
        </pc:spChg>
        <pc:cxnChg chg="mod">
          <ac:chgData name="Meyer Raphael (PAR-ES)" userId="79615dfe-ed48-4e74-a40f-4f7b034c1c27" providerId="ADAL" clId="{9E554EE2-F074-428C-8653-2CEE000EC49B}" dt="2021-01-21T09:54:30.514" v="796" actId="1038"/>
          <ac:cxnSpMkLst>
            <pc:docMk/>
            <pc:sldMk cId="1323358563" sldId="321"/>
            <ac:cxnSpMk id="29" creationId="{FD3E902F-283F-48FC-9504-FF2FF4EA4BF0}"/>
          </ac:cxnSpMkLst>
        </pc:cxnChg>
        <pc:cxnChg chg="mod">
          <ac:chgData name="Meyer Raphael (PAR-ES)" userId="79615dfe-ed48-4e74-a40f-4f7b034c1c27" providerId="ADAL" clId="{9E554EE2-F074-428C-8653-2CEE000EC49B}" dt="2021-01-21T09:54:41.325" v="797" actId="14100"/>
          <ac:cxnSpMkLst>
            <pc:docMk/>
            <pc:sldMk cId="1323358563" sldId="321"/>
            <ac:cxnSpMk id="30" creationId="{1D702FCA-793F-404B-84D5-F14C318BFFB3}"/>
          </ac:cxnSpMkLst>
        </pc:cxnChg>
      </pc:sldChg>
      <pc:sldChg chg="addSp delSp modSp add ord">
        <pc:chgData name="Meyer Raphael (PAR-ES)" userId="79615dfe-ed48-4e74-a40f-4f7b034c1c27" providerId="ADAL" clId="{9E554EE2-F074-428C-8653-2CEE000EC49B}" dt="2021-01-21T09:52:42.167" v="779" actId="1038"/>
        <pc:sldMkLst>
          <pc:docMk/>
          <pc:sldMk cId="3034369345" sldId="322"/>
        </pc:sldMkLst>
        <pc:spChg chg="mod">
          <ac:chgData name="Meyer Raphael (PAR-ES)" userId="79615dfe-ed48-4e74-a40f-4f7b034c1c27" providerId="ADAL" clId="{9E554EE2-F074-428C-8653-2CEE000EC49B}" dt="2021-01-21T09:50:21.949" v="762"/>
          <ac:spMkLst>
            <pc:docMk/>
            <pc:sldMk cId="3034369345" sldId="322"/>
            <ac:spMk id="2" creationId="{A2DC317F-F1F4-4624-8FC1-3B68C1DBB3DA}"/>
          </ac:spMkLst>
        </pc:spChg>
        <pc:spChg chg="add del mod">
          <ac:chgData name="Meyer Raphael (PAR-ES)" userId="79615dfe-ed48-4e74-a40f-4f7b034c1c27" providerId="ADAL" clId="{9E554EE2-F074-428C-8653-2CEE000EC49B}" dt="2021-01-21T09:49:50.316" v="757" actId="478"/>
          <ac:spMkLst>
            <pc:docMk/>
            <pc:sldMk cId="3034369345" sldId="322"/>
            <ac:spMk id="7" creationId="{BA3F9A72-0541-4D1F-8CD8-1C2B8074FA1B}"/>
          </ac:spMkLst>
        </pc:spChg>
        <pc:spChg chg="add del">
          <ac:chgData name="Meyer Raphael (PAR-ES)" userId="79615dfe-ed48-4e74-a40f-4f7b034c1c27" providerId="ADAL" clId="{9E554EE2-F074-428C-8653-2CEE000EC49B}" dt="2021-01-21T09:49:50.316" v="757" actId="478"/>
          <ac:spMkLst>
            <pc:docMk/>
            <pc:sldMk cId="3034369345" sldId="322"/>
            <ac:spMk id="8" creationId="{5857C2A1-2CB8-4D4A-AEFD-E809BF73D04F}"/>
          </ac:spMkLst>
        </pc:spChg>
        <pc:spChg chg="add del mod">
          <ac:chgData name="Meyer Raphael (PAR-ES)" userId="79615dfe-ed48-4e74-a40f-4f7b034c1c27" providerId="ADAL" clId="{9E554EE2-F074-428C-8653-2CEE000EC49B}" dt="2021-01-21T09:49:50.316" v="757" actId="478"/>
          <ac:spMkLst>
            <pc:docMk/>
            <pc:sldMk cId="3034369345" sldId="322"/>
            <ac:spMk id="9" creationId="{B6990B61-32B2-4ADC-BF01-EDF7B4080F97}"/>
          </ac:spMkLst>
        </pc:spChg>
        <pc:spChg chg="mod">
          <ac:chgData name="Meyer Raphael (PAR-ES)" userId="79615dfe-ed48-4e74-a40f-4f7b034c1c27" providerId="ADAL" clId="{9E554EE2-F074-428C-8653-2CEE000EC49B}" dt="2021-01-21T09:50:32.581" v="763"/>
          <ac:spMkLst>
            <pc:docMk/>
            <pc:sldMk cId="3034369345" sldId="322"/>
            <ac:spMk id="10" creationId="{077DFD58-E5EE-4B68-9325-D935DB04DD40}"/>
          </ac:spMkLst>
        </pc:spChg>
        <pc:spChg chg="add del">
          <ac:chgData name="Meyer Raphael (PAR-ES)" userId="79615dfe-ed48-4e74-a40f-4f7b034c1c27" providerId="ADAL" clId="{9E554EE2-F074-428C-8653-2CEE000EC49B}" dt="2021-01-21T09:49:50.316" v="757" actId="478"/>
          <ac:spMkLst>
            <pc:docMk/>
            <pc:sldMk cId="3034369345" sldId="322"/>
            <ac:spMk id="17" creationId="{785E740C-F94A-4208-8DFD-63A603C16577}"/>
          </ac:spMkLst>
        </pc:spChg>
        <pc:spChg chg="add del">
          <ac:chgData name="Meyer Raphael (PAR-ES)" userId="79615dfe-ed48-4e74-a40f-4f7b034c1c27" providerId="ADAL" clId="{9E554EE2-F074-428C-8653-2CEE000EC49B}" dt="2021-01-21T09:49:50.316" v="757" actId="478"/>
          <ac:spMkLst>
            <pc:docMk/>
            <pc:sldMk cId="3034369345" sldId="322"/>
            <ac:spMk id="26" creationId="{BFD498B5-D73E-4C8A-9FAF-B3547647538C}"/>
          </ac:spMkLst>
        </pc:spChg>
        <pc:spChg chg="mod">
          <ac:chgData name="Meyer Raphael (PAR-ES)" userId="79615dfe-ed48-4e74-a40f-4f7b034c1c27" providerId="ADAL" clId="{9E554EE2-F074-428C-8653-2CEE000EC49B}" dt="2021-01-21T09:50:45.694" v="764"/>
          <ac:spMkLst>
            <pc:docMk/>
            <pc:sldMk cId="3034369345" sldId="322"/>
            <ac:spMk id="27" creationId="{46A6B042-39EE-4A58-BBAA-13D52264B660}"/>
          </ac:spMkLst>
        </pc:spChg>
        <pc:spChg chg="add del">
          <ac:chgData name="Meyer Raphael (PAR-ES)" userId="79615dfe-ed48-4e74-a40f-4f7b034c1c27" providerId="ADAL" clId="{9E554EE2-F074-428C-8653-2CEE000EC49B}" dt="2021-01-21T09:49:40.537" v="756" actId="478"/>
          <ac:spMkLst>
            <pc:docMk/>
            <pc:sldMk cId="3034369345" sldId="322"/>
            <ac:spMk id="31" creationId="{7491A47D-CAD4-478D-8F3A-296FFCB799F9}"/>
          </ac:spMkLst>
        </pc:spChg>
        <pc:spChg chg="add mod">
          <ac:chgData name="Meyer Raphael (PAR-ES)" userId="79615dfe-ed48-4e74-a40f-4f7b034c1c27" providerId="ADAL" clId="{9E554EE2-F074-428C-8653-2CEE000EC49B}" dt="2021-01-21T09:50:05.762" v="761" actId="20577"/>
          <ac:spMkLst>
            <pc:docMk/>
            <pc:sldMk cId="3034369345" sldId="322"/>
            <ac:spMk id="36" creationId="{E46C73A3-955A-4138-8A70-BDE6BF3C18CC}"/>
          </ac:spMkLst>
        </pc:spChg>
        <pc:spChg chg="add">
          <ac:chgData name="Meyer Raphael (PAR-ES)" userId="79615dfe-ed48-4e74-a40f-4f7b034c1c27" providerId="ADAL" clId="{9E554EE2-F074-428C-8653-2CEE000EC49B}" dt="2021-01-21T09:50:00.355" v="758"/>
          <ac:spMkLst>
            <pc:docMk/>
            <pc:sldMk cId="3034369345" sldId="322"/>
            <ac:spMk id="38" creationId="{E55F7D7A-8159-4331-B71E-6B6375E52D91}"/>
          </ac:spMkLst>
        </pc:spChg>
        <pc:spChg chg="add">
          <ac:chgData name="Meyer Raphael (PAR-ES)" userId="79615dfe-ed48-4e74-a40f-4f7b034c1c27" providerId="ADAL" clId="{9E554EE2-F074-428C-8653-2CEE000EC49B}" dt="2021-01-21T09:50:00.355" v="758"/>
          <ac:spMkLst>
            <pc:docMk/>
            <pc:sldMk cId="3034369345" sldId="322"/>
            <ac:spMk id="39" creationId="{4FB5514E-D8E9-4552-B7D9-D51242C3B12F}"/>
          </ac:spMkLst>
        </pc:spChg>
        <pc:spChg chg="add">
          <ac:chgData name="Meyer Raphael (PAR-ES)" userId="79615dfe-ed48-4e74-a40f-4f7b034c1c27" providerId="ADAL" clId="{9E554EE2-F074-428C-8653-2CEE000EC49B}" dt="2021-01-21T09:50:00.355" v="758"/>
          <ac:spMkLst>
            <pc:docMk/>
            <pc:sldMk cId="3034369345" sldId="322"/>
            <ac:spMk id="40" creationId="{69705190-6429-40E9-B39E-3D3F1D861106}"/>
          </ac:spMkLst>
        </pc:spChg>
        <pc:spChg chg="add">
          <ac:chgData name="Meyer Raphael (PAR-ES)" userId="79615dfe-ed48-4e74-a40f-4f7b034c1c27" providerId="ADAL" clId="{9E554EE2-F074-428C-8653-2CEE000EC49B}" dt="2021-01-21T09:50:00.355" v="758"/>
          <ac:spMkLst>
            <pc:docMk/>
            <pc:sldMk cId="3034369345" sldId="322"/>
            <ac:spMk id="41" creationId="{5FD2409B-796E-4579-8AE2-D135B91D280A}"/>
          </ac:spMkLst>
        </pc:spChg>
        <pc:cxnChg chg="mod">
          <ac:chgData name="Meyer Raphael (PAR-ES)" userId="79615dfe-ed48-4e74-a40f-4f7b034c1c27" providerId="ADAL" clId="{9E554EE2-F074-428C-8653-2CEE000EC49B}" dt="2021-01-21T09:52:42.167" v="779" actId="1038"/>
          <ac:cxnSpMkLst>
            <pc:docMk/>
            <pc:sldMk cId="3034369345" sldId="322"/>
            <ac:cxnSpMk id="29" creationId="{FD3E902F-283F-48FC-9504-FF2FF4EA4BF0}"/>
          </ac:cxnSpMkLst>
        </pc:cxnChg>
        <pc:cxnChg chg="mod">
          <ac:chgData name="Meyer Raphael (PAR-ES)" userId="79615dfe-ed48-4e74-a40f-4f7b034c1c27" providerId="ADAL" clId="{9E554EE2-F074-428C-8653-2CEE000EC49B}" dt="2021-01-21T09:52:27.017" v="777" actId="14100"/>
          <ac:cxnSpMkLst>
            <pc:docMk/>
            <pc:sldMk cId="3034369345" sldId="322"/>
            <ac:cxnSpMk id="30" creationId="{1D702FCA-793F-404B-84D5-F14C318BFFB3}"/>
          </ac:cxnSpMkLst>
        </pc:cxnChg>
      </pc:sldChg>
    </pc:docChg>
  </pc:docChgLst>
  <pc:docChgLst>
    <pc:chgData name="Meyer Raphael (PAR-ES)" userId="79615dfe-ed48-4e74-a40f-4f7b034c1c27" providerId="ADAL" clId="{0F6412C6-CA40-442D-8083-EB596FC2A673}"/>
    <pc:docChg chg="custSel addSld modSld sldOrd">
      <pc:chgData name="Meyer Raphael (PAR-ES)" userId="79615dfe-ed48-4e74-a40f-4f7b034c1c27" providerId="ADAL" clId="{0F6412C6-CA40-442D-8083-EB596FC2A673}" dt="2021-11-02T14:47:56.470" v="75"/>
      <pc:docMkLst>
        <pc:docMk/>
      </pc:docMkLst>
      <pc:sldChg chg="modSp mod">
        <pc:chgData name="Meyer Raphael (PAR-ES)" userId="79615dfe-ed48-4e74-a40f-4f7b034c1c27" providerId="ADAL" clId="{0F6412C6-CA40-442D-8083-EB596FC2A673}" dt="2021-11-02T14:42:11.138" v="57" actId="6549"/>
        <pc:sldMkLst>
          <pc:docMk/>
          <pc:sldMk cId="3808035539" sldId="270"/>
        </pc:sldMkLst>
        <pc:spChg chg="mod">
          <ac:chgData name="Meyer Raphael (PAR-ES)" userId="79615dfe-ed48-4e74-a40f-4f7b034c1c27" providerId="ADAL" clId="{0F6412C6-CA40-442D-8083-EB596FC2A673}" dt="2021-11-02T14:42:11.138" v="57" actId="6549"/>
          <ac:spMkLst>
            <pc:docMk/>
            <pc:sldMk cId="3808035539" sldId="270"/>
            <ac:spMk id="3" creationId="{00000000-0000-0000-0000-000000000000}"/>
          </ac:spMkLst>
        </pc:spChg>
      </pc:sldChg>
      <pc:sldChg chg="modSp add mod ord">
        <pc:chgData name="Meyer Raphael (PAR-ES)" userId="79615dfe-ed48-4e74-a40f-4f7b034c1c27" providerId="ADAL" clId="{0F6412C6-CA40-442D-8083-EB596FC2A673}" dt="2021-11-02T14:42:03.501" v="56" actId="20577"/>
        <pc:sldMkLst>
          <pc:docMk/>
          <pc:sldMk cId="3677740869" sldId="271"/>
        </pc:sldMkLst>
        <pc:spChg chg="mod">
          <ac:chgData name="Meyer Raphael (PAR-ES)" userId="79615dfe-ed48-4e74-a40f-4f7b034c1c27" providerId="ADAL" clId="{0F6412C6-CA40-442D-8083-EB596FC2A673}" dt="2021-11-02T14:35:48.076" v="15"/>
          <ac:spMkLst>
            <pc:docMk/>
            <pc:sldMk cId="3677740869" sldId="271"/>
            <ac:spMk id="2" creationId="{00000000-0000-0000-0000-000000000000}"/>
          </ac:spMkLst>
        </pc:spChg>
        <pc:spChg chg="mod">
          <ac:chgData name="Meyer Raphael (PAR-ES)" userId="79615dfe-ed48-4e74-a40f-4f7b034c1c27" providerId="ADAL" clId="{0F6412C6-CA40-442D-8083-EB596FC2A673}" dt="2021-11-02T14:42:03.501" v="56" actId="20577"/>
          <ac:spMkLst>
            <pc:docMk/>
            <pc:sldMk cId="3677740869" sldId="271"/>
            <ac:spMk id="3" creationId="{00000000-0000-0000-0000-000000000000}"/>
          </ac:spMkLst>
        </pc:spChg>
        <pc:spChg chg="mod">
          <ac:chgData name="Meyer Raphael (PAR-ES)" userId="79615dfe-ed48-4e74-a40f-4f7b034c1c27" providerId="ADAL" clId="{0F6412C6-CA40-442D-8083-EB596FC2A673}" dt="2021-11-02T14:36:44.642" v="18" actId="20577"/>
          <ac:spMkLst>
            <pc:docMk/>
            <pc:sldMk cId="3677740869" sldId="271"/>
            <ac:spMk id="5" creationId="{00000000-0000-0000-0000-000000000000}"/>
          </ac:spMkLst>
        </pc:spChg>
      </pc:sldChg>
      <pc:sldChg chg="modSp add mod">
        <pc:chgData name="Meyer Raphael (PAR-ES)" userId="79615dfe-ed48-4e74-a40f-4f7b034c1c27" providerId="ADAL" clId="{0F6412C6-CA40-442D-8083-EB596FC2A673}" dt="2021-11-02T14:44:11.596" v="60"/>
        <pc:sldMkLst>
          <pc:docMk/>
          <pc:sldMk cId="1963209825" sldId="272"/>
        </pc:sldMkLst>
        <pc:spChg chg="mod">
          <ac:chgData name="Meyer Raphael (PAR-ES)" userId="79615dfe-ed48-4e74-a40f-4f7b034c1c27" providerId="ADAL" clId="{0F6412C6-CA40-442D-8083-EB596FC2A673}" dt="2021-11-02T14:44:11.596" v="60"/>
          <ac:spMkLst>
            <pc:docMk/>
            <pc:sldMk cId="1963209825" sldId="272"/>
            <ac:spMk id="2" creationId="{00000000-0000-0000-0000-000000000000}"/>
          </ac:spMkLst>
        </pc:spChg>
        <pc:spChg chg="mod">
          <ac:chgData name="Meyer Raphael (PAR-ES)" userId="79615dfe-ed48-4e74-a40f-4f7b034c1c27" providerId="ADAL" clId="{0F6412C6-CA40-442D-8083-EB596FC2A673}" dt="2021-11-02T14:41:37.188" v="43" actId="6549"/>
          <ac:spMkLst>
            <pc:docMk/>
            <pc:sldMk cId="1963209825" sldId="272"/>
            <ac:spMk id="3" creationId="{00000000-0000-0000-0000-000000000000}"/>
          </ac:spMkLst>
        </pc:spChg>
        <pc:spChg chg="mod">
          <ac:chgData name="Meyer Raphael (PAR-ES)" userId="79615dfe-ed48-4e74-a40f-4f7b034c1c27" providerId="ADAL" clId="{0F6412C6-CA40-442D-8083-EB596FC2A673}" dt="2021-11-02T14:40:48.901" v="24" actId="20577"/>
          <ac:spMkLst>
            <pc:docMk/>
            <pc:sldMk cId="1963209825" sldId="272"/>
            <ac:spMk id="5" creationId="{00000000-0000-0000-0000-000000000000}"/>
          </ac:spMkLst>
        </pc:spChg>
      </pc:sldChg>
      <pc:sldChg chg="modSp add mod">
        <pc:chgData name="Meyer Raphael (PAR-ES)" userId="79615dfe-ed48-4e74-a40f-4f7b034c1c27" providerId="ADAL" clId="{0F6412C6-CA40-442D-8083-EB596FC2A673}" dt="2021-11-02T14:47:56.470" v="75"/>
        <pc:sldMkLst>
          <pc:docMk/>
          <pc:sldMk cId="1065586608" sldId="273"/>
        </pc:sldMkLst>
        <pc:spChg chg="mod">
          <ac:chgData name="Meyer Raphael (PAR-ES)" userId="79615dfe-ed48-4e74-a40f-4f7b034c1c27" providerId="ADAL" clId="{0F6412C6-CA40-442D-8083-EB596FC2A673}" dt="2021-11-02T14:47:56.470" v="75"/>
          <ac:spMkLst>
            <pc:docMk/>
            <pc:sldMk cId="1065586608" sldId="273"/>
            <ac:spMk id="2" creationId="{00000000-0000-0000-0000-000000000000}"/>
          </ac:spMkLst>
        </pc:spChg>
        <pc:spChg chg="mod">
          <ac:chgData name="Meyer Raphael (PAR-ES)" userId="79615dfe-ed48-4e74-a40f-4f7b034c1c27" providerId="ADAL" clId="{0F6412C6-CA40-442D-8083-EB596FC2A673}" dt="2021-11-02T14:46:19.183" v="70" actId="6549"/>
          <ac:spMkLst>
            <pc:docMk/>
            <pc:sldMk cId="1065586608" sldId="273"/>
            <ac:spMk id="3" creationId="{00000000-0000-0000-0000-000000000000}"/>
          </ac:spMkLst>
        </pc:spChg>
        <pc:spChg chg="mod">
          <ac:chgData name="Meyer Raphael (PAR-ES)" userId="79615dfe-ed48-4e74-a40f-4f7b034c1c27" providerId="ADAL" clId="{0F6412C6-CA40-442D-8083-EB596FC2A673}" dt="2021-11-02T14:46:33.270" v="73" actId="20577"/>
          <ac:spMkLst>
            <pc:docMk/>
            <pc:sldMk cId="1065586608" sldId="273"/>
            <ac:spMk id="5" creationId="{00000000-0000-0000-0000-000000000000}"/>
          </ac:spMkLst>
        </pc:spChg>
      </pc:sldChg>
    </pc:docChg>
  </pc:docChgLst>
  <pc:docChgLst>
    <pc:chgData name="Meyer Raphael (PAR-ES)" userId="79615dfe-ed48-4e74-a40f-4f7b034c1c27" providerId="ADAL" clId="{BD78FBA8-28CB-4801-9164-9A1036786C5F}"/>
    <pc:docChg chg="addSld modSld sldOrd">
      <pc:chgData name="Meyer Raphael (PAR-ES)" userId="79615dfe-ed48-4e74-a40f-4f7b034c1c27" providerId="ADAL" clId="{BD78FBA8-28CB-4801-9164-9A1036786C5F}" dt="2021-06-14T07:38:53.770" v="47"/>
      <pc:docMkLst>
        <pc:docMk/>
      </pc:docMkLst>
      <pc:sldChg chg="modSp mod">
        <pc:chgData name="Meyer Raphael (PAR-ES)" userId="79615dfe-ed48-4e74-a40f-4f7b034c1c27" providerId="ADAL" clId="{BD78FBA8-28CB-4801-9164-9A1036786C5F}" dt="2021-06-14T07:36:21.039" v="39" actId="1038"/>
        <pc:sldMkLst>
          <pc:docMk/>
          <pc:sldMk cId="1495152177" sldId="298"/>
        </pc:sldMkLst>
        <pc:spChg chg="mod">
          <ac:chgData name="Meyer Raphael (PAR-ES)" userId="79615dfe-ed48-4e74-a40f-4f7b034c1c27" providerId="ADAL" clId="{BD78FBA8-28CB-4801-9164-9A1036786C5F}" dt="2021-06-14T07:36:21.039" v="39" actId="1038"/>
          <ac:spMkLst>
            <pc:docMk/>
            <pc:sldMk cId="1495152177" sldId="298"/>
            <ac:spMk id="12" creationId="{970D2C07-63A2-4265-B006-56F685FE80A5}"/>
          </ac:spMkLst>
        </pc:spChg>
        <pc:spChg chg="mod">
          <ac:chgData name="Meyer Raphael (PAR-ES)" userId="79615dfe-ed48-4e74-a40f-4f7b034c1c27" providerId="ADAL" clId="{BD78FBA8-28CB-4801-9164-9A1036786C5F}" dt="2021-06-14T07:36:21.039" v="39" actId="1038"/>
          <ac:spMkLst>
            <pc:docMk/>
            <pc:sldMk cId="1495152177" sldId="298"/>
            <ac:spMk id="13" creationId="{93412675-62AA-41D8-997C-4E877ED953A8}"/>
          </ac:spMkLst>
        </pc:spChg>
        <pc:cxnChg chg="mod">
          <ac:chgData name="Meyer Raphael (PAR-ES)" userId="79615dfe-ed48-4e74-a40f-4f7b034c1c27" providerId="ADAL" clId="{BD78FBA8-28CB-4801-9164-9A1036786C5F}" dt="2021-06-14T07:36:21.039" v="39" actId="1038"/>
          <ac:cxnSpMkLst>
            <pc:docMk/>
            <pc:sldMk cId="1495152177" sldId="298"/>
            <ac:cxnSpMk id="8" creationId="{6F3EB9D3-E612-42D9-859B-1905BD876C26}"/>
          </ac:cxnSpMkLst>
        </pc:cxnChg>
      </pc:sldChg>
      <pc:sldChg chg="modSp add ord">
        <pc:chgData name="Meyer Raphael (PAR-ES)" userId="79615dfe-ed48-4e74-a40f-4f7b034c1c27" providerId="ADAL" clId="{BD78FBA8-28CB-4801-9164-9A1036786C5F}" dt="2021-06-14T07:38:53.770" v="47"/>
        <pc:sldMkLst>
          <pc:docMk/>
          <pc:sldMk cId="1559304935" sldId="363"/>
        </pc:sldMkLst>
        <pc:spChg chg="mod">
          <ac:chgData name="Meyer Raphael (PAR-ES)" userId="79615dfe-ed48-4e74-a40f-4f7b034c1c27" providerId="ADAL" clId="{BD78FBA8-28CB-4801-9164-9A1036786C5F}" dt="2021-06-14T07:38:44.702" v="46"/>
          <ac:spMkLst>
            <pc:docMk/>
            <pc:sldMk cId="1559304935" sldId="363"/>
            <ac:spMk id="2" creationId="{A2DC317F-F1F4-4624-8FC1-3B68C1DBB3DA}"/>
          </ac:spMkLst>
        </pc:spChg>
        <pc:spChg chg="mod">
          <ac:chgData name="Meyer Raphael (PAR-ES)" userId="79615dfe-ed48-4e74-a40f-4f7b034c1c27" providerId="ADAL" clId="{BD78FBA8-28CB-4801-9164-9A1036786C5F}" dt="2021-06-14T07:38:53.770" v="47"/>
          <ac:spMkLst>
            <pc:docMk/>
            <pc:sldMk cId="1559304935" sldId="363"/>
            <ac:spMk id="10" creationId="{077DFD58-E5EE-4B68-9325-D935DB04DD40}"/>
          </ac:spMkLst>
        </pc:spChg>
      </pc:sldChg>
      <pc:sldChg chg="add ord">
        <pc:chgData name="Meyer Raphael (PAR-ES)" userId="79615dfe-ed48-4e74-a40f-4f7b034c1c27" providerId="ADAL" clId="{BD78FBA8-28CB-4801-9164-9A1036786C5F}" dt="2021-06-14T07:38:30.720" v="43"/>
        <pc:sldMkLst>
          <pc:docMk/>
          <pc:sldMk cId="2043265091" sldId="364"/>
        </pc:sldMkLst>
      </pc:sldChg>
    </pc:docChg>
  </pc:docChgLst>
  <pc:docChgLst>
    <pc:chgData name="Meyer Raphael (PAR-ES)" userId="79615dfe-ed48-4e74-a40f-4f7b034c1c27" providerId="ADAL" clId="{3F817C4B-F866-4FC9-921E-DA547AE7CCD2}"/>
    <pc:docChg chg="modSld">
      <pc:chgData name="Meyer Raphael (PAR-ES)" userId="79615dfe-ed48-4e74-a40f-4f7b034c1c27" providerId="ADAL" clId="{3F817C4B-F866-4FC9-921E-DA547AE7CCD2}" dt="2021-11-04T13:41:11.916" v="44" actId="1038"/>
      <pc:docMkLst>
        <pc:docMk/>
      </pc:docMkLst>
      <pc:sldChg chg="modSp mod">
        <pc:chgData name="Meyer Raphael (PAR-ES)" userId="79615dfe-ed48-4e74-a40f-4f7b034c1c27" providerId="ADAL" clId="{3F817C4B-F866-4FC9-921E-DA547AE7CCD2}" dt="2021-11-04T13:40:48.028" v="10" actId="1038"/>
        <pc:sldMkLst>
          <pc:docMk/>
          <pc:sldMk cId="3808035539" sldId="270"/>
        </pc:sldMkLst>
        <pc:spChg chg="mod">
          <ac:chgData name="Meyer Raphael (PAR-ES)" userId="79615dfe-ed48-4e74-a40f-4f7b034c1c27" providerId="ADAL" clId="{3F817C4B-F866-4FC9-921E-DA547AE7CCD2}" dt="2021-11-04T13:40:48.028" v="10" actId="1038"/>
          <ac:spMkLst>
            <pc:docMk/>
            <pc:sldMk cId="3808035539" sldId="270"/>
            <ac:spMk id="10" creationId="{41B9B9AB-4B12-4760-AF37-4FABDDFAE68B}"/>
          </ac:spMkLst>
        </pc:spChg>
      </pc:sldChg>
      <pc:sldChg chg="modSp mod">
        <pc:chgData name="Meyer Raphael (PAR-ES)" userId="79615dfe-ed48-4e74-a40f-4f7b034c1c27" providerId="ADAL" clId="{3F817C4B-F866-4FC9-921E-DA547AE7CCD2}" dt="2021-11-04T13:40:56.482" v="21" actId="1038"/>
        <pc:sldMkLst>
          <pc:docMk/>
          <pc:sldMk cId="3677740869" sldId="271"/>
        </pc:sldMkLst>
        <pc:spChg chg="mod">
          <ac:chgData name="Meyer Raphael (PAR-ES)" userId="79615dfe-ed48-4e74-a40f-4f7b034c1c27" providerId="ADAL" clId="{3F817C4B-F866-4FC9-921E-DA547AE7CCD2}" dt="2021-11-04T13:40:56.482" v="21" actId="1038"/>
          <ac:spMkLst>
            <pc:docMk/>
            <pc:sldMk cId="3677740869" sldId="271"/>
            <ac:spMk id="6" creationId="{43DF758D-1D72-4940-A1AE-B914B7A641D5}"/>
          </ac:spMkLst>
        </pc:spChg>
      </pc:sldChg>
      <pc:sldChg chg="modSp mod">
        <pc:chgData name="Meyer Raphael (PAR-ES)" userId="79615dfe-ed48-4e74-a40f-4f7b034c1c27" providerId="ADAL" clId="{3F817C4B-F866-4FC9-921E-DA547AE7CCD2}" dt="2021-11-04T13:41:04.249" v="33" actId="1038"/>
        <pc:sldMkLst>
          <pc:docMk/>
          <pc:sldMk cId="1963209825" sldId="272"/>
        </pc:sldMkLst>
        <pc:spChg chg="mod">
          <ac:chgData name="Meyer Raphael (PAR-ES)" userId="79615dfe-ed48-4e74-a40f-4f7b034c1c27" providerId="ADAL" clId="{3F817C4B-F866-4FC9-921E-DA547AE7CCD2}" dt="2021-11-04T13:41:04.249" v="33" actId="1038"/>
          <ac:spMkLst>
            <pc:docMk/>
            <pc:sldMk cId="1963209825" sldId="272"/>
            <ac:spMk id="6" creationId="{CF6DBC6D-330A-4C20-9AEB-024C54AD5363}"/>
          </ac:spMkLst>
        </pc:spChg>
      </pc:sldChg>
      <pc:sldChg chg="modSp mod">
        <pc:chgData name="Meyer Raphael (PAR-ES)" userId="79615dfe-ed48-4e74-a40f-4f7b034c1c27" providerId="ADAL" clId="{3F817C4B-F866-4FC9-921E-DA547AE7CCD2}" dt="2021-11-04T13:41:11.916" v="44" actId="1038"/>
        <pc:sldMkLst>
          <pc:docMk/>
          <pc:sldMk cId="1065586608" sldId="273"/>
        </pc:sldMkLst>
        <pc:spChg chg="mod">
          <ac:chgData name="Meyer Raphael (PAR-ES)" userId="79615dfe-ed48-4e74-a40f-4f7b034c1c27" providerId="ADAL" clId="{3F817C4B-F866-4FC9-921E-DA547AE7CCD2}" dt="2021-11-04T13:41:11.916" v="44" actId="1038"/>
          <ac:spMkLst>
            <pc:docMk/>
            <pc:sldMk cId="1065586608" sldId="273"/>
            <ac:spMk id="6" creationId="{E0F162F0-F370-43B9-9CC4-2142C851FD99}"/>
          </ac:spMkLst>
        </pc:spChg>
      </pc:sldChg>
    </pc:docChg>
  </pc:docChgLst>
  <pc:docChgLst>
    <pc:chgData name="Meyer Raphael (PAR-ES)" userId="79615dfe-ed48-4e74-a40f-4f7b034c1c27" providerId="ADAL" clId="{5BDC4DE6-AEE0-4FC4-A6D7-CBAF56E9819B}"/>
    <pc:docChg chg="undo redo custSel addSld delSld modSld sldOrd modMainMaster">
      <pc:chgData name="Meyer Raphael (PAR-ES)" userId="79615dfe-ed48-4e74-a40f-4f7b034c1c27" providerId="ADAL" clId="{5BDC4DE6-AEE0-4FC4-A6D7-CBAF56E9819B}" dt="2021-10-20T08:26:05.944" v="339"/>
      <pc:docMkLst>
        <pc:docMk/>
      </pc:docMkLst>
      <pc:sldChg chg="modSp del mod">
        <pc:chgData name="Meyer Raphael (PAR-ES)" userId="79615dfe-ed48-4e74-a40f-4f7b034c1c27" providerId="ADAL" clId="{5BDC4DE6-AEE0-4FC4-A6D7-CBAF56E9819B}" dt="2021-10-19T12:51:52.524" v="244" actId="47"/>
        <pc:sldMkLst>
          <pc:docMk/>
          <pc:sldMk cId="1537997412" sldId="373"/>
        </pc:sldMkLst>
        <pc:spChg chg="mod">
          <ac:chgData name="Meyer Raphael (PAR-ES)" userId="79615dfe-ed48-4e74-a40f-4f7b034c1c27" providerId="ADAL" clId="{5BDC4DE6-AEE0-4FC4-A6D7-CBAF56E9819B}" dt="2021-10-19T12:29:43.220" v="3" actId="207"/>
          <ac:spMkLst>
            <pc:docMk/>
            <pc:sldMk cId="1537997412" sldId="373"/>
            <ac:spMk id="2" creationId="{5E8A4EFD-4DC4-43AA-95D5-75F07C9AB845}"/>
          </ac:spMkLst>
        </pc:spChg>
        <pc:spChg chg="mod">
          <ac:chgData name="Meyer Raphael (PAR-ES)" userId="79615dfe-ed48-4e74-a40f-4f7b034c1c27" providerId="ADAL" clId="{5BDC4DE6-AEE0-4FC4-A6D7-CBAF56E9819B}" dt="2021-10-19T12:40:05.858" v="51" actId="120"/>
          <ac:spMkLst>
            <pc:docMk/>
            <pc:sldMk cId="1537997412" sldId="373"/>
            <ac:spMk id="12" creationId="{4DA2B71E-2CC2-4C38-BAAB-A71345A07B83}"/>
          </ac:spMkLst>
        </pc:spChg>
        <pc:spChg chg="mod">
          <ac:chgData name="Meyer Raphael (PAR-ES)" userId="79615dfe-ed48-4e74-a40f-4f7b034c1c27" providerId="ADAL" clId="{5BDC4DE6-AEE0-4FC4-A6D7-CBAF56E9819B}" dt="2021-10-19T12:50:48.441" v="240" actId="208"/>
          <ac:spMkLst>
            <pc:docMk/>
            <pc:sldMk cId="1537997412" sldId="373"/>
            <ac:spMk id="16" creationId="{12071265-4F7A-4F0C-9EDF-46D776DCEF56}"/>
          </ac:spMkLst>
        </pc:spChg>
        <pc:spChg chg="mod">
          <ac:chgData name="Meyer Raphael (PAR-ES)" userId="79615dfe-ed48-4e74-a40f-4f7b034c1c27" providerId="ADAL" clId="{5BDC4DE6-AEE0-4FC4-A6D7-CBAF56E9819B}" dt="2021-10-19T12:51:12.456" v="242" actId="2085"/>
          <ac:spMkLst>
            <pc:docMk/>
            <pc:sldMk cId="1537997412" sldId="373"/>
            <ac:spMk id="22" creationId="{B3F5B9B8-EDA8-430F-83AA-59E4DAA4DCA3}"/>
          </ac:spMkLst>
        </pc:spChg>
        <pc:spChg chg="mod">
          <ac:chgData name="Meyer Raphael (PAR-ES)" userId="79615dfe-ed48-4e74-a40f-4f7b034c1c27" providerId="ADAL" clId="{5BDC4DE6-AEE0-4FC4-A6D7-CBAF56E9819B}" dt="2021-10-19T12:50:48.441" v="240" actId="208"/>
          <ac:spMkLst>
            <pc:docMk/>
            <pc:sldMk cId="1537997412" sldId="373"/>
            <ac:spMk id="24" creationId="{FD07A55C-6879-4E52-B5A8-38679864E2FC}"/>
          </ac:spMkLst>
        </pc:spChg>
        <pc:spChg chg="mod">
          <ac:chgData name="Meyer Raphael (PAR-ES)" userId="79615dfe-ed48-4e74-a40f-4f7b034c1c27" providerId="ADAL" clId="{5BDC4DE6-AEE0-4FC4-A6D7-CBAF56E9819B}" dt="2021-10-19T12:28:37.530" v="0" actId="255"/>
          <ac:spMkLst>
            <pc:docMk/>
            <pc:sldMk cId="1537997412" sldId="373"/>
            <ac:spMk id="26" creationId="{B2A2B17F-5283-4548-8C7D-95077C2EAD04}"/>
          </ac:spMkLst>
        </pc:spChg>
        <pc:spChg chg="mod">
          <ac:chgData name="Meyer Raphael (PAR-ES)" userId="79615dfe-ed48-4e74-a40f-4f7b034c1c27" providerId="ADAL" clId="{5BDC4DE6-AEE0-4FC4-A6D7-CBAF56E9819B}" dt="2021-10-19T12:51:09.724" v="241" actId="2085"/>
          <ac:spMkLst>
            <pc:docMk/>
            <pc:sldMk cId="1537997412" sldId="373"/>
            <ac:spMk id="28" creationId="{582710AA-075B-42A9-AAE8-776AAD968DF6}"/>
          </ac:spMkLst>
        </pc:spChg>
        <pc:graphicFrameChg chg="mod">
          <ac:chgData name="Meyer Raphael (PAR-ES)" userId="79615dfe-ed48-4e74-a40f-4f7b034c1c27" providerId="ADAL" clId="{5BDC4DE6-AEE0-4FC4-A6D7-CBAF56E9819B}" dt="2021-10-19T12:40:48.750" v="55" actId="14100"/>
          <ac:graphicFrameMkLst>
            <pc:docMk/>
            <pc:sldMk cId="1537997412" sldId="373"/>
            <ac:graphicFrameMk id="10" creationId="{E856299E-9B60-478F-8674-1045505692C4}"/>
          </ac:graphicFrameMkLst>
        </pc:graphicFrameChg>
        <pc:cxnChg chg="mod">
          <ac:chgData name="Meyer Raphael (PAR-ES)" userId="79615dfe-ed48-4e74-a40f-4f7b034c1c27" providerId="ADAL" clId="{5BDC4DE6-AEE0-4FC4-A6D7-CBAF56E9819B}" dt="2021-10-19T12:34:19.550" v="6" actId="208"/>
          <ac:cxnSpMkLst>
            <pc:docMk/>
            <pc:sldMk cId="1537997412" sldId="373"/>
            <ac:cxnSpMk id="17" creationId="{ADB86D40-94DA-4EA6-A13C-F322B879613C}"/>
          </ac:cxnSpMkLst>
        </pc:cxnChg>
        <pc:cxnChg chg="mod">
          <ac:chgData name="Meyer Raphael (PAR-ES)" userId="79615dfe-ed48-4e74-a40f-4f7b034c1c27" providerId="ADAL" clId="{5BDC4DE6-AEE0-4FC4-A6D7-CBAF56E9819B}" dt="2021-10-19T12:34:19.550" v="6" actId="208"/>
          <ac:cxnSpMkLst>
            <pc:docMk/>
            <pc:sldMk cId="1537997412" sldId="373"/>
            <ac:cxnSpMk id="18" creationId="{4AD487EB-8B7D-42D2-9F65-FA2AF08A717F}"/>
          </ac:cxnSpMkLst>
        </pc:cxnChg>
        <pc:cxnChg chg="mod">
          <ac:chgData name="Meyer Raphael (PAR-ES)" userId="79615dfe-ed48-4e74-a40f-4f7b034c1c27" providerId="ADAL" clId="{5BDC4DE6-AEE0-4FC4-A6D7-CBAF56E9819B}" dt="2021-10-19T12:34:19.550" v="6" actId="208"/>
          <ac:cxnSpMkLst>
            <pc:docMk/>
            <pc:sldMk cId="1537997412" sldId="373"/>
            <ac:cxnSpMk id="21" creationId="{70B5456D-B5DD-4516-B6A3-B39AEE671B52}"/>
          </ac:cxnSpMkLst>
        </pc:cxnChg>
      </pc:sldChg>
      <pc:sldChg chg="modSp del mod ord">
        <pc:chgData name="Meyer Raphael (PAR-ES)" userId="79615dfe-ed48-4e74-a40f-4f7b034c1c27" providerId="ADAL" clId="{5BDC4DE6-AEE0-4FC4-A6D7-CBAF56E9819B}" dt="2021-10-19T13:12:48.434" v="292" actId="47"/>
        <pc:sldMkLst>
          <pc:docMk/>
          <pc:sldMk cId="1860183250" sldId="377"/>
        </pc:sldMkLst>
        <pc:spChg chg="mod">
          <ac:chgData name="Meyer Raphael (PAR-ES)" userId="79615dfe-ed48-4e74-a40f-4f7b034c1c27" providerId="ADAL" clId="{5BDC4DE6-AEE0-4FC4-A6D7-CBAF56E9819B}" dt="2021-10-19T12:28:44.098" v="1" actId="255"/>
          <ac:spMkLst>
            <pc:docMk/>
            <pc:sldMk cId="1860183250" sldId="377"/>
            <ac:spMk id="23" creationId="{BB914326-7AE8-4E56-8D70-FE10C57F72D7}"/>
          </ac:spMkLst>
        </pc:spChg>
      </pc:sldChg>
      <pc:sldChg chg="modSp del mod">
        <pc:chgData name="Meyer Raphael (PAR-ES)" userId="79615dfe-ed48-4e74-a40f-4f7b034c1c27" providerId="ADAL" clId="{5BDC4DE6-AEE0-4FC4-A6D7-CBAF56E9819B}" dt="2021-10-19T13:18:57.314" v="328" actId="47"/>
        <pc:sldMkLst>
          <pc:docMk/>
          <pc:sldMk cId="3254615737" sldId="378"/>
        </pc:sldMkLst>
        <pc:spChg chg="mod">
          <ac:chgData name="Meyer Raphael (PAR-ES)" userId="79615dfe-ed48-4e74-a40f-4f7b034c1c27" providerId="ADAL" clId="{5BDC4DE6-AEE0-4FC4-A6D7-CBAF56E9819B}" dt="2021-10-19T12:28:50.641" v="2" actId="255"/>
          <ac:spMkLst>
            <pc:docMk/>
            <pc:sldMk cId="3254615737" sldId="378"/>
            <ac:spMk id="23" creationId="{C7EA10FB-93CC-4AA7-954F-92959A012B4C}"/>
          </ac:spMkLst>
        </pc:spChg>
      </pc:sldChg>
      <pc:sldChg chg="new del">
        <pc:chgData name="Meyer Raphael (PAR-ES)" userId="79615dfe-ed48-4e74-a40f-4f7b034c1c27" providerId="ADAL" clId="{5BDC4DE6-AEE0-4FC4-A6D7-CBAF56E9819B}" dt="2021-10-19T12:35:27.906" v="9" actId="2696"/>
        <pc:sldMkLst>
          <pc:docMk/>
          <pc:sldMk cId="189337811" sldId="379"/>
        </pc:sldMkLst>
      </pc:sldChg>
      <pc:sldChg chg="addSp delSp modSp add del mod modNotesTx">
        <pc:chgData name="Meyer Raphael (PAR-ES)" userId="79615dfe-ed48-4e74-a40f-4f7b034c1c27" providerId="ADAL" clId="{5BDC4DE6-AEE0-4FC4-A6D7-CBAF56E9819B}" dt="2021-10-20T08:26:05.944" v="339"/>
        <pc:sldMkLst>
          <pc:docMk/>
          <pc:sldMk cId="1199121354" sldId="417"/>
        </pc:sldMkLst>
        <pc:spChg chg="del">
          <ac:chgData name="Meyer Raphael (PAR-ES)" userId="79615dfe-ed48-4e74-a40f-4f7b034c1c27" providerId="ADAL" clId="{5BDC4DE6-AEE0-4FC4-A6D7-CBAF56E9819B}" dt="2021-10-19T12:41:25.427" v="58" actId="478"/>
          <ac:spMkLst>
            <pc:docMk/>
            <pc:sldMk cId="1199121354" sldId="417"/>
            <ac:spMk id="3" creationId="{81D85563-85B7-4BE0-9014-757DF2B14631}"/>
          </ac:spMkLst>
        </pc:spChg>
        <pc:spChg chg="del">
          <ac:chgData name="Meyer Raphael (PAR-ES)" userId="79615dfe-ed48-4e74-a40f-4f7b034c1c27" providerId="ADAL" clId="{5BDC4DE6-AEE0-4FC4-A6D7-CBAF56E9819B}" dt="2021-10-19T12:51:44.732" v="243" actId="478"/>
          <ac:spMkLst>
            <pc:docMk/>
            <pc:sldMk cId="1199121354" sldId="417"/>
            <ac:spMk id="4" creationId="{8B992646-8B87-4BF7-B103-FB9C4D8806E0}"/>
          </ac:spMkLst>
        </pc:spChg>
        <pc:spChg chg="add del mod">
          <ac:chgData name="Meyer Raphael (PAR-ES)" userId="79615dfe-ed48-4e74-a40f-4f7b034c1c27" providerId="ADAL" clId="{5BDC4DE6-AEE0-4FC4-A6D7-CBAF56E9819B}" dt="2021-10-19T12:41:29.708" v="59" actId="478"/>
          <ac:spMkLst>
            <pc:docMk/>
            <pc:sldMk cId="1199121354" sldId="417"/>
            <ac:spMk id="5" creationId="{4A465223-3DBF-44A6-961C-0E631C20DB87}"/>
          </ac:spMkLst>
        </pc:spChg>
        <pc:spChg chg="del">
          <ac:chgData name="Meyer Raphael (PAR-ES)" userId="79615dfe-ed48-4e74-a40f-4f7b034c1c27" providerId="ADAL" clId="{5BDC4DE6-AEE0-4FC4-A6D7-CBAF56E9819B}" dt="2021-10-19T12:41:21.461" v="57" actId="478"/>
          <ac:spMkLst>
            <pc:docMk/>
            <pc:sldMk cId="1199121354" sldId="417"/>
            <ac:spMk id="9" creationId="{F70BA3D6-38B0-481C-8A0D-51F378728B1F}"/>
          </ac:spMkLst>
        </pc:spChg>
        <pc:spChg chg="del">
          <ac:chgData name="Meyer Raphael (PAR-ES)" userId="79615dfe-ed48-4e74-a40f-4f7b034c1c27" providerId="ADAL" clId="{5BDC4DE6-AEE0-4FC4-A6D7-CBAF56E9819B}" dt="2021-10-19T12:41:21.461" v="57" actId="478"/>
          <ac:spMkLst>
            <pc:docMk/>
            <pc:sldMk cId="1199121354" sldId="417"/>
            <ac:spMk id="18" creationId="{4D61A480-4375-4E7D-845D-FEA84CE92776}"/>
          </ac:spMkLst>
        </pc:spChg>
        <pc:spChg chg="del">
          <ac:chgData name="Meyer Raphael (PAR-ES)" userId="79615dfe-ed48-4e74-a40f-4f7b034c1c27" providerId="ADAL" clId="{5BDC4DE6-AEE0-4FC4-A6D7-CBAF56E9819B}" dt="2021-10-19T12:41:21.461" v="57" actId="478"/>
          <ac:spMkLst>
            <pc:docMk/>
            <pc:sldMk cId="1199121354" sldId="417"/>
            <ac:spMk id="20" creationId="{BF4350EB-45E0-46D5-8DEB-774EE2C45342}"/>
          </ac:spMkLst>
        </pc:spChg>
        <pc:spChg chg="del">
          <ac:chgData name="Meyer Raphael (PAR-ES)" userId="79615dfe-ed48-4e74-a40f-4f7b034c1c27" providerId="ADAL" clId="{5BDC4DE6-AEE0-4FC4-A6D7-CBAF56E9819B}" dt="2021-10-19T12:41:21.461" v="57" actId="478"/>
          <ac:spMkLst>
            <pc:docMk/>
            <pc:sldMk cId="1199121354" sldId="417"/>
            <ac:spMk id="21" creationId="{2C725245-EFA2-4BB9-9551-1521B4A61D70}"/>
          </ac:spMkLst>
        </pc:spChg>
        <pc:spChg chg="del">
          <ac:chgData name="Meyer Raphael (PAR-ES)" userId="79615dfe-ed48-4e74-a40f-4f7b034c1c27" providerId="ADAL" clId="{5BDC4DE6-AEE0-4FC4-A6D7-CBAF56E9819B}" dt="2021-10-19T12:41:21.461" v="57" actId="478"/>
          <ac:spMkLst>
            <pc:docMk/>
            <pc:sldMk cId="1199121354" sldId="417"/>
            <ac:spMk id="22" creationId="{6D4770D2-A240-46AA-914B-7F3F8B23F92F}"/>
          </ac:spMkLst>
        </pc:spChg>
        <pc:spChg chg="del">
          <ac:chgData name="Meyer Raphael (PAR-ES)" userId="79615dfe-ed48-4e74-a40f-4f7b034c1c27" providerId="ADAL" clId="{5BDC4DE6-AEE0-4FC4-A6D7-CBAF56E9819B}" dt="2021-10-19T12:41:21.461" v="57" actId="478"/>
          <ac:spMkLst>
            <pc:docMk/>
            <pc:sldMk cId="1199121354" sldId="417"/>
            <ac:spMk id="23" creationId="{6A9D8C72-2A13-4E03-88F6-2938FB5D8EDA}"/>
          </ac:spMkLst>
        </pc:spChg>
        <pc:spChg chg="del">
          <ac:chgData name="Meyer Raphael (PAR-ES)" userId="79615dfe-ed48-4e74-a40f-4f7b034c1c27" providerId="ADAL" clId="{5BDC4DE6-AEE0-4FC4-A6D7-CBAF56E9819B}" dt="2021-10-19T12:41:21.461" v="57" actId="478"/>
          <ac:spMkLst>
            <pc:docMk/>
            <pc:sldMk cId="1199121354" sldId="417"/>
            <ac:spMk id="27" creationId="{8EDBFB5F-27ED-4596-9E05-87CF9C4ADD1E}"/>
          </ac:spMkLst>
        </pc:spChg>
        <pc:spChg chg="del">
          <ac:chgData name="Meyer Raphael (PAR-ES)" userId="79615dfe-ed48-4e74-a40f-4f7b034c1c27" providerId="ADAL" clId="{5BDC4DE6-AEE0-4FC4-A6D7-CBAF56E9819B}" dt="2021-10-19T12:41:21.461" v="57" actId="478"/>
          <ac:spMkLst>
            <pc:docMk/>
            <pc:sldMk cId="1199121354" sldId="417"/>
            <ac:spMk id="30" creationId="{D3D42411-BE14-4553-B813-E619B987CCCE}"/>
          </ac:spMkLst>
        </pc:spChg>
        <pc:spChg chg="del">
          <ac:chgData name="Meyer Raphael (PAR-ES)" userId="79615dfe-ed48-4e74-a40f-4f7b034c1c27" providerId="ADAL" clId="{5BDC4DE6-AEE0-4FC4-A6D7-CBAF56E9819B}" dt="2021-10-19T12:41:21.461" v="57" actId="478"/>
          <ac:spMkLst>
            <pc:docMk/>
            <pc:sldMk cId="1199121354" sldId="417"/>
            <ac:spMk id="42" creationId="{47134A6E-0CFD-4C70-BDB7-952DDD2B62F5}"/>
          </ac:spMkLst>
        </pc:spChg>
        <pc:spChg chg="del">
          <ac:chgData name="Meyer Raphael (PAR-ES)" userId="79615dfe-ed48-4e74-a40f-4f7b034c1c27" providerId="ADAL" clId="{5BDC4DE6-AEE0-4FC4-A6D7-CBAF56E9819B}" dt="2021-10-19T12:41:21.461" v="57" actId="478"/>
          <ac:spMkLst>
            <pc:docMk/>
            <pc:sldMk cId="1199121354" sldId="417"/>
            <ac:spMk id="43" creationId="{E4BD6B9B-73EF-41CF-B331-47D10F440456}"/>
          </ac:spMkLst>
        </pc:spChg>
        <pc:spChg chg="del">
          <ac:chgData name="Meyer Raphael (PAR-ES)" userId="79615dfe-ed48-4e74-a40f-4f7b034c1c27" providerId="ADAL" clId="{5BDC4DE6-AEE0-4FC4-A6D7-CBAF56E9819B}" dt="2021-10-19T12:41:21.461" v="57" actId="478"/>
          <ac:spMkLst>
            <pc:docMk/>
            <pc:sldMk cId="1199121354" sldId="417"/>
            <ac:spMk id="44" creationId="{8E7CFBFF-CA18-46D2-88F2-09D880D7CB47}"/>
          </ac:spMkLst>
        </pc:spChg>
        <pc:spChg chg="del">
          <ac:chgData name="Meyer Raphael (PAR-ES)" userId="79615dfe-ed48-4e74-a40f-4f7b034c1c27" providerId="ADAL" clId="{5BDC4DE6-AEE0-4FC4-A6D7-CBAF56E9819B}" dt="2021-10-19T12:41:21.461" v="57" actId="478"/>
          <ac:spMkLst>
            <pc:docMk/>
            <pc:sldMk cId="1199121354" sldId="417"/>
            <ac:spMk id="45" creationId="{D197CDE1-7E32-4A76-AA03-0737FEF707EC}"/>
          </ac:spMkLst>
        </pc:spChg>
        <pc:spChg chg="del">
          <ac:chgData name="Meyer Raphael (PAR-ES)" userId="79615dfe-ed48-4e74-a40f-4f7b034c1c27" providerId="ADAL" clId="{5BDC4DE6-AEE0-4FC4-A6D7-CBAF56E9819B}" dt="2021-10-19T12:41:21.461" v="57" actId="478"/>
          <ac:spMkLst>
            <pc:docMk/>
            <pc:sldMk cId="1199121354" sldId="417"/>
            <ac:spMk id="46" creationId="{723475C1-9FA4-49E7-8B98-E47E3554B531}"/>
          </ac:spMkLst>
        </pc:spChg>
        <pc:spChg chg="del">
          <ac:chgData name="Meyer Raphael (PAR-ES)" userId="79615dfe-ed48-4e74-a40f-4f7b034c1c27" providerId="ADAL" clId="{5BDC4DE6-AEE0-4FC4-A6D7-CBAF56E9819B}" dt="2021-10-19T12:41:21.461" v="57" actId="478"/>
          <ac:spMkLst>
            <pc:docMk/>
            <pc:sldMk cId="1199121354" sldId="417"/>
            <ac:spMk id="47" creationId="{DDF7F85A-6345-49B3-A0F0-70C890DEC449}"/>
          </ac:spMkLst>
        </pc:spChg>
        <pc:spChg chg="del">
          <ac:chgData name="Meyer Raphael (PAR-ES)" userId="79615dfe-ed48-4e74-a40f-4f7b034c1c27" providerId="ADAL" clId="{5BDC4DE6-AEE0-4FC4-A6D7-CBAF56E9819B}" dt="2021-10-19T12:41:21.461" v="57" actId="478"/>
          <ac:spMkLst>
            <pc:docMk/>
            <pc:sldMk cId="1199121354" sldId="417"/>
            <ac:spMk id="48" creationId="{5215BE24-8823-4A0D-A314-B6816F73075A}"/>
          </ac:spMkLst>
        </pc:spChg>
        <pc:spChg chg="del">
          <ac:chgData name="Meyer Raphael (PAR-ES)" userId="79615dfe-ed48-4e74-a40f-4f7b034c1c27" providerId="ADAL" clId="{5BDC4DE6-AEE0-4FC4-A6D7-CBAF56E9819B}" dt="2021-10-19T12:41:21.461" v="57" actId="478"/>
          <ac:spMkLst>
            <pc:docMk/>
            <pc:sldMk cId="1199121354" sldId="417"/>
            <ac:spMk id="49" creationId="{9D09A6A0-0339-446B-8C7B-596A0DE96E4E}"/>
          </ac:spMkLst>
        </pc:spChg>
        <pc:spChg chg="del">
          <ac:chgData name="Meyer Raphael (PAR-ES)" userId="79615dfe-ed48-4e74-a40f-4f7b034c1c27" providerId="ADAL" clId="{5BDC4DE6-AEE0-4FC4-A6D7-CBAF56E9819B}" dt="2021-10-19T12:41:21.461" v="57" actId="478"/>
          <ac:spMkLst>
            <pc:docMk/>
            <pc:sldMk cId="1199121354" sldId="417"/>
            <ac:spMk id="50" creationId="{2F80CDAB-6693-427E-B826-C619845B8297}"/>
          </ac:spMkLst>
        </pc:spChg>
        <pc:spChg chg="add del mod">
          <ac:chgData name="Meyer Raphael (PAR-ES)" userId="79615dfe-ed48-4e74-a40f-4f7b034c1c27" providerId="ADAL" clId="{5BDC4DE6-AEE0-4FC4-A6D7-CBAF56E9819B}" dt="2021-10-19T12:41:42.293" v="63"/>
          <ac:spMkLst>
            <pc:docMk/>
            <pc:sldMk cId="1199121354" sldId="417"/>
            <ac:spMk id="53" creationId="{CA8629B4-B72B-41CF-828C-22EAFDC67081}"/>
          </ac:spMkLst>
        </pc:spChg>
        <pc:spChg chg="add del mod">
          <ac:chgData name="Meyer Raphael (PAR-ES)" userId="79615dfe-ed48-4e74-a40f-4f7b034c1c27" providerId="ADAL" clId="{5BDC4DE6-AEE0-4FC4-A6D7-CBAF56E9819B}" dt="2021-10-19T12:41:42.293" v="63"/>
          <ac:spMkLst>
            <pc:docMk/>
            <pc:sldMk cId="1199121354" sldId="417"/>
            <ac:spMk id="55" creationId="{93F73DE2-6A51-4A7F-BC84-1AF48150C1D7}"/>
          </ac:spMkLst>
        </pc:spChg>
        <pc:spChg chg="add del mod">
          <ac:chgData name="Meyer Raphael (PAR-ES)" userId="79615dfe-ed48-4e74-a40f-4f7b034c1c27" providerId="ADAL" clId="{5BDC4DE6-AEE0-4FC4-A6D7-CBAF56E9819B}" dt="2021-10-19T12:41:42.293" v="63"/>
          <ac:spMkLst>
            <pc:docMk/>
            <pc:sldMk cId="1199121354" sldId="417"/>
            <ac:spMk id="56" creationId="{88CCB16A-02C4-4A91-9CB8-C580F7CFEBCE}"/>
          </ac:spMkLst>
        </pc:spChg>
        <pc:spChg chg="add del mod">
          <ac:chgData name="Meyer Raphael (PAR-ES)" userId="79615dfe-ed48-4e74-a40f-4f7b034c1c27" providerId="ADAL" clId="{5BDC4DE6-AEE0-4FC4-A6D7-CBAF56E9819B}" dt="2021-10-19T12:41:42.293" v="63"/>
          <ac:spMkLst>
            <pc:docMk/>
            <pc:sldMk cId="1199121354" sldId="417"/>
            <ac:spMk id="59" creationId="{FD945A8B-0A9B-4D36-9D8E-7B57385A46DF}"/>
          </ac:spMkLst>
        </pc:spChg>
        <pc:spChg chg="add del mod">
          <ac:chgData name="Meyer Raphael (PAR-ES)" userId="79615dfe-ed48-4e74-a40f-4f7b034c1c27" providerId="ADAL" clId="{5BDC4DE6-AEE0-4FC4-A6D7-CBAF56E9819B}" dt="2021-10-19T12:41:42.293" v="63"/>
          <ac:spMkLst>
            <pc:docMk/>
            <pc:sldMk cId="1199121354" sldId="417"/>
            <ac:spMk id="60" creationId="{81A5F23D-8B28-425C-8347-C6063107E047}"/>
          </ac:spMkLst>
        </pc:spChg>
        <pc:spChg chg="add del mod">
          <ac:chgData name="Meyer Raphael (PAR-ES)" userId="79615dfe-ed48-4e74-a40f-4f7b034c1c27" providerId="ADAL" clId="{5BDC4DE6-AEE0-4FC4-A6D7-CBAF56E9819B}" dt="2021-10-19T12:41:42.293" v="63"/>
          <ac:spMkLst>
            <pc:docMk/>
            <pc:sldMk cId="1199121354" sldId="417"/>
            <ac:spMk id="61" creationId="{30F17C3A-1B2D-4078-8434-07AA6A114385}"/>
          </ac:spMkLst>
        </pc:spChg>
        <pc:spChg chg="add del mod">
          <ac:chgData name="Meyer Raphael (PAR-ES)" userId="79615dfe-ed48-4e74-a40f-4f7b034c1c27" providerId="ADAL" clId="{5BDC4DE6-AEE0-4FC4-A6D7-CBAF56E9819B}" dt="2021-10-19T12:41:42.293" v="63"/>
          <ac:spMkLst>
            <pc:docMk/>
            <pc:sldMk cId="1199121354" sldId="417"/>
            <ac:spMk id="62" creationId="{468AAB52-3ACA-4B59-8C12-88F5D5757029}"/>
          </ac:spMkLst>
        </pc:spChg>
        <pc:spChg chg="add del mod">
          <ac:chgData name="Meyer Raphael (PAR-ES)" userId="79615dfe-ed48-4e74-a40f-4f7b034c1c27" providerId="ADAL" clId="{5BDC4DE6-AEE0-4FC4-A6D7-CBAF56E9819B}" dt="2021-10-19T12:41:42.293" v="63"/>
          <ac:spMkLst>
            <pc:docMk/>
            <pc:sldMk cId="1199121354" sldId="417"/>
            <ac:spMk id="63" creationId="{EC407985-9F31-4959-AE2E-AE6E8EF56633}"/>
          </ac:spMkLst>
        </pc:spChg>
        <pc:spChg chg="add del mod">
          <ac:chgData name="Meyer Raphael (PAR-ES)" userId="79615dfe-ed48-4e74-a40f-4f7b034c1c27" providerId="ADAL" clId="{5BDC4DE6-AEE0-4FC4-A6D7-CBAF56E9819B}" dt="2021-10-19T12:41:42.293" v="63"/>
          <ac:spMkLst>
            <pc:docMk/>
            <pc:sldMk cId="1199121354" sldId="417"/>
            <ac:spMk id="66" creationId="{16D25EC2-FF5F-4462-80C4-EABC073642F3}"/>
          </ac:spMkLst>
        </pc:spChg>
        <pc:spChg chg="add del mod">
          <ac:chgData name="Meyer Raphael (PAR-ES)" userId="79615dfe-ed48-4e74-a40f-4f7b034c1c27" providerId="ADAL" clId="{5BDC4DE6-AEE0-4FC4-A6D7-CBAF56E9819B}" dt="2021-10-19T12:41:42.293" v="63"/>
          <ac:spMkLst>
            <pc:docMk/>
            <pc:sldMk cId="1199121354" sldId="417"/>
            <ac:spMk id="67" creationId="{5CD34814-22F9-4E27-BBF9-B3B50AAEC510}"/>
          </ac:spMkLst>
        </pc:spChg>
        <pc:spChg chg="add mod">
          <ac:chgData name="Meyer Raphael (PAR-ES)" userId="79615dfe-ed48-4e74-a40f-4f7b034c1c27" providerId="ADAL" clId="{5BDC4DE6-AEE0-4FC4-A6D7-CBAF56E9819B}" dt="2021-10-19T12:48:06.231" v="199" actId="1038"/>
          <ac:spMkLst>
            <pc:docMk/>
            <pc:sldMk cId="1199121354" sldId="417"/>
            <ac:spMk id="70" creationId="{97128262-C4DB-45FF-9830-B2B3CB59FCB9}"/>
          </ac:spMkLst>
        </pc:spChg>
        <pc:spChg chg="add mod">
          <ac:chgData name="Meyer Raphael (PAR-ES)" userId="79615dfe-ed48-4e74-a40f-4f7b034c1c27" providerId="ADAL" clId="{5BDC4DE6-AEE0-4FC4-A6D7-CBAF56E9819B}" dt="2021-10-19T12:42:26.402" v="71" actId="1036"/>
          <ac:spMkLst>
            <pc:docMk/>
            <pc:sldMk cId="1199121354" sldId="417"/>
            <ac:spMk id="72" creationId="{6F9FBCE7-5D15-4CAA-93AE-6B499E43CCB1}"/>
          </ac:spMkLst>
        </pc:spChg>
        <pc:spChg chg="add mod">
          <ac:chgData name="Meyer Raphael (PAR-ES)" userId="79615dfe-ed48-4e74-a40f-4f7b034c1c27" providerId="ADAL" clId="{5BDC4DE6-AEE0-4FC4-A6D7-CBAF56E9819B}" dt="2021-10-19T12:48:41.948" v="236" actId="1038"/>
          <ac:spMkLst>
            <pc:docMk/>
            <pc:sldMk cId="1199121354" sldId="417"/>
            <ac:spMk id="73" creationId="{B5D91A14-94DF-47AC-B0A6-03933B02977C}"/>
          </ac:spMkLst>
        </pc:spChg>
        <pc:spChg chg="add mod">
          <ac:chgData name="Meyer Raphael (PAR-ES)" userId="79615dfe-ed48-4e74-a40f-4f7b034c1c27" providerId="ADAL" clId="{5BDC4DE6-AEE0-4FC4-A6D7-CBAF56E9819B}" dt="2021-10-19T12:41:42.316" v="64"/>
          <ac:spMkLst>
            <pc:docMk/>
            <pc:sldMk cId="1199121354" sldId="417"/>
            <ac:spMk id="76" creationId="{5557F6F9-66AD-4DED-9A42-7FB08C22F3FB}"/>
          </ac:spMkLst>
        </pc:spChg>
        <pc:spChg chg="add mod">
          <ac:chgData name="Meyer Raphael (PAR-ES)" userId="79615dfe-ed48-4e74-a40f-4f7b034c1c27" providerId="ADAL" clId="{5BDC4DE6-AEE0-4FC4-A6D7-CBAF56E9819B}" dt="2021-10-19T12:41:42.316" v="64"/>
          <ac:spMkLst>
            <pc:docMk/>
            <pc:sldMk cId="1199121354" sldId="417"/>
            <ac:spMk id="77" creationId="{173BBFC2-588A-4D4B-A34B-619BBA0689E6}"/>
          </ac:spMkLst>
        </pc:spChg>
        <pc:spChg chg="add mod">
          <ac:chgData name="Meyer Raphael (PAR-ES)" userId="79615dfe-ed48-4e74-a40f-4f7b034c1c27" providerId="ADAL" clId="{5BDC4DE6-AEE0-4FC4-A6D7-CBAF56E9819B}" dt="2021-10-19T12:41:42.316" v="64"/>
          <ac:spMkLst>
            <pc:docMk/>
            <pc:sldMk cId="1199121354" sldId="417"/>
            <ac:spMk id="78" creationId="{B20A57DC-4D38-4065-B8FA-8ECB9A858165}"/>
          </ac:spMkLst>
        </pc:spChg>
        <pc:spChg chg="add mod">
          <ac:chgData name="Meyer Raphael (PAR-ES)" userId="79615dfe-ed48-4e74-a40f-4f7b034c1c27" providerId="ADAL" clId="{5BDC4DE6-AEE0-4FC4-A6D7-CBAF56E9819B}" dt="2021-10-19T12:41:42.316" v="64"/>
          <ac:spMkLst>
            <pc:docMk/>
            <pc:sldMk cId="1199121354" sldId="417"/>
            <ac:spMk id="79" creationId="{1630E9BD-5F7C-4F45-B986-3CEE5B7EF862}"/>
          </ac:spMkLst>
        </pc:spChg>
        <pc:spChg chg="add mod">
          <ac:chgData name="Meyer Raphael (PAR-ES)" userId="79615dfe-ed48-4e74-a40f-4f7b034c1c27" providerId="ADAL" clId="{5BDC4DE6-AEE0-4FC4-A6D7-CBAF56E9819B}" dt="2021-10-19T12:41:42.316" v="64"/>
          <ac:spMkLst>
            <pc:docMk/>
            <pc:sldMk cId="1199121354" sldId="417"/>
            <ac:spMk id="80" creationId="{0B09E808-A6DF-45C1-94FD-29227B7F4709}"/>
          </ac:spMkLst>
        </pc:spChg>
        <pc:spChg chg="add mod">
          <ac:chgData name="Meyer Raphael (PAR-ES)" userId="79615dfe-ed48-4e74-a40f-4f7b034c1c27" providerId="ADAL" clId="{5BDC4DE6-AEE0-4FC4-A6D7-CBAF56E9819B}" dt="2021-10-19T12:48:16.470" v="201" actId="1076"/>
          <ac:spMkLst>
            <pc:docMk/>
            <pc:sldMk cId="1199121354" sldId="417"/>
            <ac:spMk id="83" creationId="{B8DCE921-BC0E-49AB-ADDE-F6CE5BB90E92}"/>
          </ac:spMkLst>
        </pc:spChg>
        <pc:spChg chg="add mod">
          <ac:chgData name="Meyer Raphael (PAR-ES)" userId="79615dfe-ed48-4e74-a40f-4f7b034c1c27" providerId="ADAL" clId="{5BDC4DE6-AEE0-4FC4-A6D7-CBAF56E9819B}" dt="2021-10-19T12:41:42.316" v="64"/>
          <ac:spMkLst>
            <pc:docMk/>
            <pc:sldMk cId="1199121354" sldId="417"/>
            <ac:spMk id="84" creationId="{F08B6033-FC3D-4B76-85D8-914B11407B3C}"/>
          </ac:spMkLst>
        </pc:spChg>
        <pc:grpChg chg="del">
          <ac:chgData name="Meyer Raphael (PAR-ES)" userId="79615dfe-ed48-4e74-a40f-4f7b034c1c27" providerId="ADAL" clId="{5BDC4DE6-AEE0-4FC4-A6D7-CBAF56E9819B}" dt="2021-10-19T12:41:21.461" v="57" actId="478"/>
          <ac:grpSpMkLst>
            <pc:docMk/>
            <pc:sldMk cId="1199121354" sldId="417"/>
            <ac:grpSpMk id="11" creationId="{381633ED-7E60-4EF5-ABDE-0A6E66941F1E}"/>
          </ac:grpSpMkLst>
        </pc:grpChg>
        <pc:grpChg chg="del">
          <ac:chgData name="Meyer Raphael (PAR-ES)" userId="79615dfe-ed48-4e74-a40f-4f7b034c1c27" providerId="ADAL" clId="{5BDC4DE6-AEE0-4FC4-A6D7-CBAF56E9819B}" dt="2021-10-19T12:41:21.461" v="57" actId="478"/>
          <ac:grpSpMkLst>
            <pc:docMk/>
            <pc:sldMk cId="1199121354" sldId="417"/>
            <ac:grpSpMk id="19" creationId="{CD4175A5-40B1-4B70-83E4-D1AC8E7D49C8}"/>
          </ac:grpSpMkLst>
        </pc:grpChg>
        <pc:grpChg chg="del">
          <ac:chgData name="Meyer Raphael (PAR-ES)" userId="79615dfe-ed48-4e74-a40f-4f7b034c1c27" providerId="ADAL" clId="{5BDC4DE6-AEE0-4FC4-A6D7-CBAF56E9819B}" dt="2021-10-19T12:41:21.461" v="57" actId="478"/>
          <ac:grpSpMkLst>
            <pc:docMk/>
            <pc:sldMk cId="1199121354" sldId="417"/>
            <ac:grpSpMk id="32" creationId="{31592520-ECF4-44BB-948B-4F969CB683CC}"/>
          </ac:grpSpMkLst>
        </pc:grpChg>
        <pc:grpChg chg="del">
          <ac:chgData name="Meyer Raphael (PAR-ES)" userId="79615dfe-ed48-4e74-a40f-4f7b034c1c27" providerId="ADAL" clId="{5BDC4DE6-AEE0-4FC4-A6D7-CBAF56E9819B}" dt="2021-10-19T12:41:21.461" v="57" actId="478"/>
          <ac:grpSpMkLst>
            <pc:docMk/>
            <pc:sldMk cId="1199121354" sldId="417"/>
            <ac:grpSpMk id="36" creationId="{70BADF19-335E-4E30-A9C6-AAE735CA9D31}"/>
          </ac:grpSpMkLst>
        </pc:grpChg>
        <pc:grpChg chg="del">
          <ac:chgData name="Meyer Raphael (PAR-ES)" userId="79615dfe-ed48-4e74-a40f-4f7b034c1c27" providerId="ADAL" clId="{5BDC4DE6-AEE0-4FC4-A6D7-CBAF56E9819B}" dt="2021-10-19T12:41:21.461" v="57" actId="478"/>
          <ac:grpSpMkLst>
            <pc:docMk/>
            <pc:sldMk cId="1199121354" sldId="417"/>
            <ac:grpSpMk id="39" creationId="{F499651E-79A4-4EAE-9A7E-6E7B49050531}"/>
          </ac:grpSpMkLst>
        </pc:grpChg>
        <pc:graphicFrameChg chg="add del mod">
          <ac:chgData name="Meyer Raphael (PAR-ES)" userId="79615dfe-ed48-4e74-a40f-4f7b034c1c27" providerId="ADAL" clId="{5BDC4DE6-AEE0-4FC4-A6D7-CBAF56E9819B}" dt="2021-10-19T12:41:42.293" v="63"/>
          <ac:graphicFrameMkLst>
            <pc:docMk/>
            <pc:sldMk cId="1199121354" sldId="417"/>
            <ac:graphicFrameMk id="51" creationId="{0857285B-009C-4C3E-B02D-E05A3AEE6F5F}"/>
          </ac:graphicFrameMkLst>
        </pc:graphicFrameChg>
        <pc:graphicFrameChg chg="add mod">
          <ac:chgData name="Meyer Raphael (PAR-ES)" userId="79615dfe-ed48-4e74-a40f-4f7b034c1c27" providerId="ADAL" clId="{5BDC4DE6-AEE0-4FC4-A6D7-CBAF56E9819B}" dt="2021-10-19T12:46:44.409" v="173"/>
          <ac:graphicFrameMkLst>
            <pc:docMk/>
            <pc:sldMk cId="1199121354" sldId="417"/>
            <ac:graphicFrameMk id="68" creationId="{41D4B4B9-45BD-4B09-B57A-D7C615C4CD23}"/>
          </ac:graphicFrameMkLst>
        </pc:graphicFrameChg>
        <pc:graphicFrameChg chg="add del mod">
          <ac:chgData name="Meyer Raphael (PAR-ES)" userId="79615dfe-ed48-4e74-a40f-4f7b034c1c27" providerId="ADAL" clId="{5BDC4DE6-AEE0-4FC4-A6D7-CBAF56E9819B}" dt="2021-10-19T12:45:59.908" v="171" actId="478"/>
          <ac:graphicFrameMkLst>
            <pc:docMk/>
            <pc:sldMk cId="1199121354" sldId="417"/>
            <ac:graphicFrameMk id="85" creationId="{08BC2BD6-BD93-4DA9-9ABD-A9DEC97CA7D1}"/>
          </ac:graphicFrameMkLst>
        </pc:graphicFrameChg>
        <pc:cxnChg chg="add del mod">
          <ac:chgData name="Meyer Raphael (PAR-ES)" userId="79615dfe-ed48-4e74-a40f-4f7b034c1c27" providerId="ADAL" clId="{5BDC4DE6-AEE0-4FC4-A6D7-CBAF56E9819B}" dt="2021-10-19T12:46:56.872" v="174" actId="478"/>
          <ac:cxnSpMkLst>
            <pc:docMk/>
            <pc:sldMk cId="1199121354" sldId="417"/>
            <ac:cxnSpMk id="7" creationId="{39AD7DAF-3336-4F8F-AAAB-7455DF6655CC}"/>
          </ac:cxnSpMkLst>
        </pc:cxnChg>
        <pc:cxnChg chg="add del mod">
          <ac:chgData name="Meyer Raphael (PAR-ES)" userId="79615dfe-ed48-4e74-a40f-4f7b034c1c27" providerId="ADAL" clId="{5BDC4DE6-AEE0-4FC4-A6D7-CBAF56E9819B}" dt="2021-10-19T12:41:42.293" v="63"/>
          <ac:cxnSpMkLst>
            <pc:docMk/>
            <pc:sldMk cId="1199121354" sldId="417"/>
            <ac:cxnSpMk id="52" creationId="{BCE94ADE-5EA0-41D6-B857-09AAE153FB73}"/>
          </ac:cxnSpMkLst>
        </pc:cxnChg>
        <pc:cxnChg chg="add del mod">
          <ac:chgData name="Meyer Raphael (PAR-ES)" userId="79615dfe-ed48-4e74-a40f-4f7b034c1c27" providerId="ADAL" clId="{5BDC4DE6-AEE0-4FC4-A6D7-CBAF56E9819B}" dt="2021-10-19T12:41:42.293" v="63"/>
          <ac:cxnSpMkLst>
            <pc:docMk/>
            <pc:sldMk cId="1199121354" sldId="417"/>
            <ac:cxnSpMk id="54" creationId="{AC02757B-DF32-4B11-A1B6-E6603C463F1C}"/>
          </ac:cxnSpMkLst>
        </pc:cxnChg>
        <pc:cxnChg chg="add del mod">
          <ac:chgData name="Meyer Raphael (PAR-ES)" userId="79615dfe-ed48-4e74-a40f-4f7b034c1c27" providerId="ADAL" clId="{5BDC4DE6-AEE0-4FC4-A6D7-CBAF56E9819B}" dt="2021-10-19T12:41:42.293" v="63"/>
          <ac:cxnSpMkLst>
            <pc:docMk/>
            <pc:sldMk cId="1199121354" sldId="417"/>
            <ac:cxnSpMk id="57" creationId="{E3EFA056-559D-4F93-98BA-46F47EDA0B4F}"/>
          </ac:cxnSpMkLst>
        </pc:cxnChg>
        <pc:cxnChg chg="add del mod">
          <ac:chgData name="Meyer Raphael (PAR-ES)" userId="79615dfe-ed48-4e74-a40f-4f7b034c1c27" providerId="ADAL" clId="{5BDC4DE6-AEE0-4FC4-A6D7-CBAF56E9819B}" dt="2021-10-19T12:41:42.293" v="63"/>
          <ac:cxnSpMkLst>
            <pc:docMk/>
            <pc:sldMk cId="1199121354" sldId="417"/>
            <ac:cxnSpMk id="58" creationId="{B7EEEFEC-0DDE-417D-A37E-6387DC936A8C}"/>
          </ac:cxnSpMkLst>
        </pc:cxnChg>
        <pc:cxnChg chg="add del mod">
          <ac:chgData name="Meyer Raphael (PAR-ES)" userId="79615dfe-ed48-4e74-a40f-4f7b034c1c27" providerId="ADAL" clId="{5BDC4DE6-AEE0-4FC4-A6D7-CBAF56E9819B}" dt="2021-10-19T12:41:42.293" v="63"/>
          <ac:cxnSpMkLst>
            <pc:docMk/>
            <pc:sldMk cId="1199121354" sldId="417"/>
            <ac:cxnSpMk id="64" creationId="{009F0525-6953-423A-A0C5-BE7F93368B43}"/>
          </ac:cxnSpMkLst>
        </pc:cxnChg>
        <pc:cxnChg chg="add del mod">
          <ac:chgData name="Meyer Raphael (PAR-ES)" userId="79615dfe-ed48-4e74-a40f-4f7b034c1c27" providerId="ADAL" clId="{5BDC4DE6-AEE0-4FC4-A6D7-CBAF56E9819B}" dt="2021-10-19T12:41:42.293" v="63"/>
          <ac:cxnSpMkLst>
            <pc:docMk/>
            <pc:sldMk cId="1199121354" sldId="417"/>
            <ac:cxnSpMk id="65" creationId="{F82B5FEE-B681-4AD5-A8BE-F2CEC176AAF7}"/>
          </ac:cxnSpMkLst>
        </pc:cxnChg>
        <pc:cxnChg chg="add mod">
          <ac:chgData name="Meyer Raphael (PAR-ES)" userId="79615dfe-ed48-4e74-a40f-4f7b034c1c27" providerId="ADAL" clId="{5BDC4DE6-AEE0-4FC4-A6D7-CBAF56E9819B}" dt="2021-10-19T12:48:06.231" v="199" actId="1038"/>
          <ac:cxnSpMkLst>
            <pc:docMk/>
            <pc:sldMk cId="1199121354" sldId="417"/>
            <ac:cxnSpMk id="69" creationId="{46E56FF7-63FD-4F29-A682-A41C68B2DFB4}"/>
          </ac:cxnSpMkLst>
        </pc:cxnChg>
        <pc:cxnChg chg="add mod">
          <ac:chgData name="Meyer Raphael (PAR-ES)" userId="79615dfe-ed48-4e74-a40f-4f7b034c1c27" providerId="ADAL" clId="{5BDC4DE6-AEE0-4FC4-A6D7-CBAF56E9819B}" dt="2021-10-19T12:48:41.948" v="236" actId="1038"/>
          <ac:cxnSpMkLst>
            <pc:docMk/>
            <pc:sldMk cId="1199121354" sldId="417"/>
            <ac:cxnSpMk id="71" creationId="{B11A0BDA-48C0-4B0E-946A-61B766F1FFE8}"/>
          </ac:cxnSpMkLst>
        </pc:cxnChg>
        <pc:cxnChg chg="add mod">
          <ac:chgData name="Meyer Raphael (PAR-ES)" userId="79615dfe-ed48-4e74-a40f-4f7b034c1c27" providerId="ADAL" clId="{5BDC4DE6-AEE0-4FC4-A6D7-CBAF56E9819B}" dt="2021-10-19T12:47:05.678" v="180" actId="1038"/>
          <ac:cxnSpMkLst>
            <pc:docMk/>
            <pc:sldMk cId="1199121354" sldId="417"/>
            <ac:cxnSpMk id="74" creationId="{D7E58C1A-BD59-45B7-88A0-BCE35B2770F9}"/>
          </ac:cxnSpMkLst>
        </pc:cxnChg>
        <pc:cxnChg chg="add mod">
          <ac:chgData name="Meyer Raphael (PAR-ES)" userId="79615dfe-ed48-4e74-a40f-4f7b034c1c27" providerId="ADAL" clId="{5BDC4DE6-AEE0-4FC4-A6D7-CBAF56E9819B}" dt="2021-10-19T13:14:03.011" v="300" actId="14100"/>
          <ac:cxnSpMkLst>
            <pc:docMk/>
            <pc:sldMk cId="1199121354" sldId="417"/>
            <ac:cxnSpMk id="75" creationId="{C61E375B-2BF6-4CFE-A117-F1B033D18530}"/>
          </ac:cxnSpMkLst>
        </pc:cxnChg>
        <pc:cxnChg chg="add mod">
          <ac:chgData name="Meyer Raphael (PAR-ES)" userId="79615dfe-ed48-4e74-a40f-4f7b034c1c27" providerId="ADAL" clId="{5BDC4DE6-AEE0-4FC4-A6D7-CBAF56E9819B}" dt="2021-10-19T13:14:26.251" v="303" actId="14100"/>
          <ac:cxnSpMkLst>
            <pc:docMk/>
            <pc:sldMk cId="1199121354" sldId="417"/>
            <ac:cxnSpMk id="81" creationId="{077B3997-639A-4D61-8279-A4B77BBDF59A}"/>
          </ac:cxnSpMkLst>
        </pc:cxnChg>
        <pc:cxnChg chg="add mod">
          <ac:chgData name="Meyer Raphael (PAR-ES)" userId="79615dfe-ed48-4e74-a40f-4f7b034c1c27" providerId="ADAL" clId="{5BDC4DE6-AEE0-4FC4-A6D7-CBAF56E9819B}" dt="2021-10-19T13:14:12.149" v="301" actId="14100"/>
          <ac:cxnSpMkLst>
            <pc:docMk/>
            <pc:sldMk cId="1199121354" sldId="417"/>
            <ac:cxnSpMk id="82" creationId="{2947710C-C5CE-445D-8763-663FCA730DFC}"/>
          </ac:cxnSpMkLst>
        </pc:cxnChg>
      </pc:sldChg>
      <pc:sldChg chg="add del">
        <pc:chgData name="Meyer Raphael (PAR-ES)" userId="79615dfe-ed48-4e74-a40f-4f7b034c1c27" providerId="ADAL" clId="{5BDC4DE6-AEE0-4FC4-A6D7-CBAF56E9819B}" dt="2021-10-19T13:12:51.513" v="293" actId="47"/>
        <pc:sldMkLst>
          <pc:docMk/>
          <pc:sldMk cId="3566475849" sldId="418"/>
        </pc:sldMkLst>
      </pc:sldChg>
      <pc:sldChg chg="modSp add mod">
        <pc:chgData name="Meyer Raphael (PAR-ES)" userId="79615dfe-ed48-4e74-a40f-4f7b034c1c27" providerId="ADAL" clId="{5BDC4DE6-AEE0-4FC4-A6D7-CBAF56E9819B}" dt="2021-10-19T13:59:32.682" v="336"/>
        <pc:sldMkLst>
          <pc:docMk/>
          <pc:sldMk cId="200941906" sldId="419"/>
        </pc:sldMkLst>
        <pc:spChg chg="mod">
          <ac:chgData name="Meyer Raphael (PAR-ES)" userId="79615dfe-ed48-4e74-a40f-4f7b034c1c27" providerId="ADAL" clId="{5BDC4DE6-AEE0-4FC4-A6D7-CBAF56E9819B}" dt="2021-10-19T13:11:44.551" v="285" actId="20577"/>
          <ac:spMkLst>
            <pc:docMk/>
            <pc:sldMk cId="200941906" sldId="419"/>
            <ac:spMk id="77" creationId="{173BBFC2-588A-4D4B-A34B-619BBA0689E6}"/>
          </ac:spMkLst>
        </pc:spChg>
        <pc:spChg chg="mod">
          <ac:chgData name="Meyer Raphael (PAR-ES)" userId="79615dfe-ed48-4e74-a40f-4f7b034c1c27" providerId="ADAL" clId="{5BDC4DE6-AEE0-4FC4-A6D7-CBAF56E9819B}" dt="2021-10-19T13:11:31.144" v="279"/>
          <ac:spMkLst>
            <pc:docMk/>
            <pc:sldMk cId="200941906" sldId="419"/>
            <ac:spMk id="80" creationId="{0B09E808-A6DF-45C1-94FD-29227B7F4709}"/>
          </ac:spMkLst>
        </pc:spChg>
        <pc:spChg chg="mod">
          <ac:chgData name="Meyer Raphael (PAR-ES)" userId="79615dfe-ed48-4e74-a40f-4f7b034c1c27" providerId="ADAL" clId="{5BDC4DE6-AEE0-4FC4-A6D7-CBAF56E9819B}" dt="2021-10-19T13:01:06.695" v="278"/>
          <ac:spMkLst>
            <pc:docMk/>
            <pc:sldMk cId="200941906" sldId="419"/>
            <ac:spMk id="83" creationId="{B8DCE921-BC0E-49AB-ADDE-F6CE5BB90E92}"/>
          </ac:spMkLst>
        </pc:spChg>
        <pc:graphicFrameChg chg="mod">
          <ac:chgData name="Meyer Raphael (PAR-ES)" userId="79615dfe-ed48-4e74-a40f-4f7b034c1c27" providerId="ADAL" clId="{5BDC4DE6-AEE0-4FC4-A6D7-CBAF56E9819B}" dt="2021-10-19T13:59:32.682" v="336"/>
          <ac:graphicFrameMkLst>
            <pc:docMk/>
            <pc:sldMk cId="200941906" sldId="419"/>
            <ac:graphicFrameMk id="68" creationId="{41D4B4B9-45BD-4B09-B57A-D7C615C4CD23}"/>
          </ac:graphicFrameMkLst>
        </pc:graphicFrameChg>
        <pc:cxnChg chg="mod">
          <ac:chgData name="Meyer Raphael (PAR-ES)" userId="79615dfe-ed48-4e74-a40f-4f7b034c1c27" providerId="ADAL" clId="{5BDC4DE6-AEE0-4FC4-A6D7-CBAF56E9819B}" dt="2021-10-19T13:14:47.107" v="305" actId="14100"/>
          <ac:cxnSpMkLst>
            <pc:docMk/>
            <pc:sldMk cId="200941906" sldId="419"/>
            <ac:cxnSpMk id="75" creationId="{C61E375B-2BF6-4CFE-A117-F1B033D18530}"/>
          </ac:cxnSpMkLst>
        </pc:cxnChg>
        <pc:cxnChg chg="mod">
          <ac:chgData name="Meyer Raphael (PAR-ES)" userId="79615dfe-ed48-4e74-a40f-4f7b034c1c27" providerId="ADAL" clId="{5BDC4DE6-AEE0-4FC4-A6D7-CBAF56E9819B}" dt="2021-10-19T13:15:01.238" v="308" actId="14100"/>
          <ac:cxnSpMkLst>
            <pc:docMk/>
            <pc:sldMk cId="200941906" sldId="419"/>
            <ac:cxnSpMk id="81" creationId="{077B3997-639A-4D61-8279-A4B77BBDF59A}"/>
          </ac:cxnSpMkLst>
        </pc:cxnChg>
        <pc:cxnChg chg="mod">
          <ac:chgData name="Meyer Raphael (PAR-ES)" userId="79615dfe-ed48-4e74-a40f-4f7b034c1c27" providerId="ADAL" clId="{5BDC4DE6-AEE0-4FC4-A6D7-CBAF56E9819B}" dt="2021-10-19T13:14:52.304" v="306" actId="14100"/>
          <ac:cxnSpMkLst>
            <pc:docMk/>
            <pc:sldMk cId="200941906" sldId="419"/>
            <ac:cxnSpMk id="82" creationId="{2947710C-C5CE-445D-8763-663FCA730DFC}"/>
          </ac:cxnSpMkLst>
        </pc:cxnChg>
      </pc:sldChg>
      <pc:sldChg chg="modSp add mod">
        <pc:chgData name="Meyer Raphael (PAR-ES)" userId="79615dfe-ed48-4e74-a40f-4f7b034c1c27" providerId="ADAL" clId="{5BDC4DE6-AEE0-4FC4-A6D7-CBAF56E9819B}" dt="2021-10-19T13:59:47.885" v="338"/>
        <pc:sldMkLst>
          <pc:docMk/>
          <pc:sldMk cId="3299254992" sldId="420"/>
        </pc:sldMkLst>
        <pc:spChg chg="mod">
          <ac:chgData name="Meyer Raphael (PAR-ES)" userId="79615dfe-ed48-4e74-a40f-4f7b034c1c27" providerId="ADAL" clId="{5BDC4DE6-AEE0-4FC4-A6D7-CBAF56E9819B}" dt="2021-10-19T13:17:14.099" v="322" actId="20577"/>
          <ac:spMkLst>
            <pc:docMk/>
            <pc:sldMk cId="3299254992" sldId="420"/>
            <ac:spMk id="77" creationId="{173BBFC2-588A-4D4B-A34B-619BBA0689E6}"/>
          </ac:spMkLst>
        </pc:spChg>
        <pc:spChg chg="mod">
          <ac:chgData name="Meyer Raphael (PAR-ES)" userId="79615dfe-ed48-4e74-a40f-4f7b034c1c27" providerId="ADAL" clId="{5BDC4DE6-AEE0-4FC4-A6D7-CBAF56E9819B}" dt="2021-10-19T13:17:07.295" v="316"/>
          <ac:spMkLst>
            <pc:docMk/>
            <pc:sldMk cId="3299254992" sldId="420"/>
            <ac:spMk id="80" creationId="{0B09E808-A6DF-45C1-94FD-29227B7F4709}"/>
          </ac:spMkLst>
        </pc:spChg>
        <pc:spChg chg="mod">
          <ac:chgData name="Meyer Raphael (PAR-ES)" userId="79615dfe-ed48-4e74-a40f-4f7b034c1c27" providerId="ADAL" clId="{5BDC4DE6-AEE0-4FC4-A6D7-CBAF56E9819B}" dt="2021-10-19T13:16:37.137" v="315"/>
          <ac:spMkLst>
            <pc:docMk/>
            <pc:sldMk cId="3299254992" sldId="420"/>
            <ac:spMk id="83" creationId="{B8DCE921-BC0E-49AB-ADDE-F6CE5BB90E92}"/>
          </ac:spMkLst>
        </pc:spChg>
        <pc:graphicFrameChg chg="mod">
          <ac:chgData name="Meyer Raphael (PAR-ES)" userId="79615dfe-ed48-4e74-a40f-4f7b034c1c27" providerId="ADAL" clId="{5BDC4DE6-AEE0-4FC4-A6D7-CBAF56E9819B}" dt="2021-10-19T13:59:47.885" v="338"/>
          <ac:graphicFrameMkLst>
            <pc:docMk/>
            <pc:sldMk cId="3299254992" sldId="420"/>
            <ac:graphicFrameMk id="68" creationId="{41D4B4B9-45BD-4B09-B57A-D7C615C4CD23}"/>
          </ac:graphicFrameMkLst>
        </pc:graphicFrameChg>
      </pc:sldChg>
      <pc:sldMasterChg chg="delSp mod">
        <pc:chgData name="Meyer Raphael (PAR-ES)" userId="79615dfe-ed48-4e74-a40f-4f7b034c1c27" providerId="ADAL" clId="{5BDC4DE6-AEE0-4FC4-A6D7-CBAF56E9819B}" dt="2021-10-19T13:12:15.772" v="287"/>
        <pc:sldMasterMkLst>
          <pc:docMk/>
          <pc:sldMasterMk cId="3307758698" sldId="2147483660"/>
        </pc:sldMasterMkLst>
        <pc:spChg chg="del">
          <ac:chgData name="Meyer Raphael (PAR-ES)" userId="79615dfe-ed48-4e74-a40f-4f7b034c1c27" providerId="ADAL" clId="{5BDC4DE6-AEE0-4FC4-A6D7-CBAF56E9819B}" dt="2021-10-19T13:12:15.772" v="287"/>
          <ac:spMkLst>
            <pc:docMk/>
            <pc:sldMasterMk cId="3307758698" sldId="2147483660"/>
            <ac:spMk id="7" creationId="{1E4D2D91-D134-4644-9D78-F6F8D7DE1E45}"/>
          </ac:spMkLst>
        </pc:spChg>
      </pc:sldMasterChg>
      <pc:sldMasterChg chg="delSp mod">
        <pc:chgData name="Meyer Raphael (PAR-ES)" userId="79615dfe-ed48-4e74-a40f-4f7b034c1c27" providerId="ADAL" clId="{5BDC4DE6-AEE0-4FC4-A6D7-CBAF56E9819B}" dt="2021-10-19T13:12:15.772" v="289"/>
        <pc:sldMasterMkLst>
          <pc:docMk/>
          <pc:sldMasterMk cId="3007821643" sldId="2147483676"/>
        </pc:sldMasterMkLst>
        <pc:spChg chg="del">
          <ac:chgData name="Meyer Raphael (PAR-ES)" userId="79615dfe-ed48-4e74-a40f-4f7b034c1c27" providerId="ADAL" clId="{5BDC4DE6-AEE0-4FC4-A6D7-CBAF56E9819B}" dt="2021-10-19T13:12:15.772" v="289"/>
          <ac:spMkLst>
            <pc:docMk/>
            <pc:sldMasterMk cId="3007821643" sldId="2147483676"/>
            <ac:spMk id="7" creationId="{5E12FC31-FC0C-4EA2-A0F0-EC04857B99CD}"/>
          </ac:spMkLst>
        </pc:spChg>
      </pc:sldMasterChg>
      <pc:sldMasterChg chg="addSp delSp modSp mod">
        <pc:chgData name="Meyer Raphael (PAR-ES)" userId="79615dfe-ed48-4e74-a40f-4f7b034c1c27" providerId="ADAL" clId="{5BDC4DE6-AEE0-4FC4-A6D7-CBAF56E9819B}" dt="2021-10-19T13:12:15.772" v="291"/>
        <pc:sldMasterMkLst>
          <pc:docMk/>
          <pc:sldMasterMk cId="247366169" sldId="2147483712"/>
        </pc:sldMasterMkLst>
        <pc:spChg chg="add del mod ord modVis">
          <ac:chgData name="Meyer Raphael (PAR-ES)" userId="79615dfe-ed48-4e74-a40f-4f7b034c1c27" providerId="ADAL" clId="{5BDC4DE6-AEE0-4FC4-A6D7-CBAF56E9819B}" dt="2021-10-19T13:12:15.772" v="291"/>
          <ac:spMkLst>
            <pc:docMk/>
            <pc:sldMasterMk cId="247366169" sldId="2147483712"/>
            <ac:spMk id="7" creationId="{E45453EA-9FEE-45AC-A4F8-82EE7E38401B}"/>
          </ac:spMkLst>
        </pc:spChg>
      </pc:sldMasterChg>
    </pc:docChg>
  </pc:docChgLst>
  <pc:docChgLst>
    <pc:chgData name="Meyer Raphael (PAR-ES)" userId="79615dfe-ed48-4e74-a40f-4f7b034c1c27" providerId="ADAL" clId="{9E6DBD48-31D1-4C20-A692-B18B66411399}"/>
    <pc:docChg chg="modSld">
      <pc:chgData name="Meyer Raphael (PAR-ES)" userId="79615dfe-ed48-4e74-a40f-4f7b034c1c27" providerId="ADAL" clId="{9E6DBD48-31D1-4C20-A692-B18B66411399}" dt="2021-06-24T11:39:14.460" v="85" actId="1076"/>
      <pc:docMkLst>
        <pc:docMk/>
      </pc:docMkLst>
      <pc:sldChg chg="modSp mod">
        <pc:chgData name="Meyer Raphael (PAR-ES)" userId="79615dfe-ed48-4e74-a40f-4f7b034c1c27" providerId="ADAL" clId="{9E6DBD48-31D1-4C20-A692-B18B66411399}" dt="2021-06-24T11:39:02.493" v="83" actId="1076"/>
        <pc:sldMkLst>
          <pc:docMk/>
          <pc:sldMk cId="1495152177" sldId="298"/>
        </pc:sldMkLst>
        <pc:spChg chg="mod">
          <ac:chgData name="Meyer Raphael (PAR-ES)" userId="79615dfe-ed48-4e74-a40f-4f7b034c1c27" providerId="ADAL" clId="{9E6DBD48-31D1-4C20-A692-B18B66411399}" dt="2021-06-24T11:39:02.493" v="83" actId="1076"/>
          <ac:spMkLst>
            <pc:docMk/>
            <pc:sldMk cId="1495152177" sldId="298"/>
            <ac:spMk id="6" creationId="{0EEE4EA3-E16E-424B-97F9-53A8F5D585AE}"/>
          </ac:spMkLst>
        </pc:spChg>
        <pc:spChg chg="mod">
          <ac:chgData name="Meyer Raphael (PAR-ES)" userId="79615dfe-ed48-4e74-a40f-4f7b034c1c27" providerId="ADAL" clId="{9E6DBD48-31D1-4C20-A692-B18B66411399}" dt="2021-06-24T11:37:40.037" v="82" actId="1038"/>
          <ac:spMkLst>
            <pc:docMk/>
            <pc:sldMk cId="1495152177" sldId="298"/>
            <ac:spMk id="12" creationId="{970D2C07-63A2-4265-B006-56F685FE80A5}"/>
          </ac:spMkLst>
        </pc:spChg>
        <pc:spChg chg="mod">
          <ac:chgData name="Meyer Raphael (PAR-ES)" userId="79615dfe-ed48-4e74-a40f-4f7b034c1c27" providerId="ADAL" clId="{9E6DBD48-31D1-4C20-A692-B18B66411399}" dt="2021-06-24T11:37:40.037" v="82" actId="1038"/>
          <ac:spMkLst>
            <pc:docMk/>
            <pc:sldMk cId="1495152177" sldId="298"/>
            <ac:spMk id="13" creationId="{93412675-62AA-41D8-997C-4E877ED953A8}"/>
          </ac:spMkLst>
        </pc:spChg>
        <pc:graphicFrameChg chg="modGraphic">
          <ac:chgData name="Meyer Raphael (PAR-ES)" userId="79615dfe-ed48-4e74-a40f-4f7b034c1c27" providerId="ADAL" clId="{9E6DBD48-31D1-4C20-A692-B18B66411399}" dt="2021-06-24T11:32:49.105" v="21"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9E6DBD48-31D1-4C20-A692-B18B66411399}" dt="2021-06-24T11:37:40.037" v="82" actId="1038"/>
          <ac:cxnSpMkLst>
            <pc:docMk/>
            <pc:sldMk cId="1495152177" sldId="298"/>
            <ac:cxnSpMk id="8" creationId="{6F3EB9D3-E612-42D9-859B-1905BD876C26}"/>
          </ac:cxnSpMkLst>
        </pc:cxnChg>
      </pc:sldChg>
      <pc:sldChg chg="modSp mod">
        <pc:chgData name="Meyer Raphael (PAR-ES)" userId="79615dfe-ed48-4e74-a40f-4f7b034c1c27" providerId="ADAL" clId="{9E6DBD48-31D1-4C20-A692-B18B66411399}" dt="2021-06-24T11:39:07.740" v="84" actId="1076"/>
        <pc:sldMkLst>
          <pc:docMk/>
          <pc:sldMk cId="3590012689" sldId="365"/>
        </pc:sldMkLst>
        <pc:spChg chg="mod">
          <ac:chgData name="Meyer Raphael (PAR-ES)" userId="79615dfe-ed48-4e74-a40f-4f7b034c1c27" providerId="ADAL" clId="{9E6DBD48-31D1-4C20-A692-B18B66411399}" dt="2021-06-24T11:39:07.740" v="84" actId="1076"/>
          <ac:spMkLst>
            <pc:docMk/>
            <pc:sldMk cId="3590012689" sldId="365"/>
            <ac:spMk id="6" creationId="{0EEE4EA3-E16E-424B-97F9-53A8F5D585AE}"/>
          </ac:spMkLst>
        </pc:spChg>
        <pc:spChg chg="mod">
          <ac:chgData name="Meyer Raphael (PAR-ES)" userId="79615dfe-ed48-4e74-a40f-4f7b034c1c27" providerId="ADAL" clId="{9E6DBD48-31D1-4C20-A692-B18B66411399}" dt="2021-06-24T11:37:26.069" v="64" actId="1037"/>
          <ac:spMkLst>
            <pc:docMk/>
            <pc:sldMk cId="3590012689" sldId="365"/>
            <ac:spMk id="12" creationId="{970D2C07-63A2-4265-B006-56F685FE80A5}"/>
          </ac:spMkLst>
        </pc:spChg>
        <pc:spChg chg="mod">
          <ac:chgData name="Meyer Raphael (PAR-ES)" userId="79615dfe-ed48-4e74-a40f-4f7b034c1c27" providerId="ADAL" clId="{9E6DBD48-31D1-4C20-A692-B18B66411399}" dt="2021-06-24T11:37:26.069" v="64" actId="1037"/>
          <ac:spMkLst>
            <pc:docMk/>
            <pc:sldMk cId="3590012689" sldId="365"/>
            <ac:spMk id="13" creationId="{93412675-62AA-41D8-997C-4E877ED953A8}"/>
          </ac:spMkLst>
        </pc:spChg>
        <pc:graphicFrameChg chg="mod modGraphic">
          <ac:chgData name="Meyer Raphael (PAR-ES)" userId="79615dfe-ed48-4e74-a40f-4f7b034c1c27" providerId="ADAL" clId="{9E6DBD48-31D1-4C20-A692-B18B66411399}" dt="2021-06-24T11:32:42.927" v="19" actId="20577"/>
          <ac:graphicFrameMkLst>
            <pc:docMk/>
            <pc:sldMk cId="3590012689" sldId="365"/>
            <ac:graphicFrameMk id="9" creationId="{E1369C63-C4A7-403B-A03F-B004599F910A}"/>
          </ac:graphicFrameMkLst>
        </pc:graphicFrameChg>
        <pc:cxnChg chg="mod">
          <ac:chgData name="Meyer Raphael (PAR-ES)" userId="79615dfe-ed48-4e74-a40f-4f7b034c1c27" providerId="ADAL" clId="{9E6DBD48-31D1-4C20-A692-B18B66411399}" dt="2021-06-24T11:37:26.069" v="64" actId="1037"/>
          <ac:cxnSpMkLst>
            <pc:docMk/>
            <pc:sldMk cId="3590012689" sldId="365"/>
            <ac:cxnSpMk id="8" creationId="{6F3EB9D3-E612-42D9-859B-1905BD876C26}"/>
          </ac:cxnSpMkLst>
        </pc:cxnChg>
      </pc:sldChg>
      <pc:sldChg chg="modSp mod">
        <pc:chgData name="Meyer Raphael (PAR-ES)" userId="79615dfe-ed48-4e74-a40f-4f7b034c1c27" providerId="ADAL" clId="{9E6DBD48-31D1-4C20-A692-B18B66411399}" dt="2021-06-24T11:39:14.460" v="85" actId="1076"/>
        <pc:sldMkLst>
          <pc:docMk/>
          <pc:sldMk cId="689864941" sldId="366"/>
        </pc:sldMkLst>
        <pc:spChg chg="mod">
          <ac:chgData name="Meyer Raphael (PAR-ES)" userId="79615dfe-ed48-4e74-a40f-4f7b034c1c27" providerId="ADAL" clId="{9E6DBD48-31D1-4C20-A692-B18B66411399}" dt="2021-06-24T11:39:14.460" v="85" actId="1076"/>
          <ac:spMkLst>
            <pc:docMk/>
            <pc:sldMk cId="689864941" sldId="366"/>
            <ac:spMk id="6" creationId="{0EEE4EA3-E16E-424B-97F9-53A8F5D585AE}"/>
          </ac:spMkLst>
        </pc:spChg>
        <pc:spChg chg="mod">
          <ac:chgData name="Meyer Raphael (PAR-ES)" userId="79615dfe-ed48-4e74-a40f-4f7b034c1c27" providerId="ADAL" clId="{9E6DBD48-31D1-4C20-A692-B18B66411399}" dt="2021-06-24T11:37:11.260" v="48" actId="1037"/>
          <ac:spMkLst>
            <pc:docMk/>
            <pc:sldMk cId="689864941" sldId="366"/>
            <ac:spMk id="12" creationId="{970D2C07-63A2-4265-B006-56F685FE80A5}"/>
          </ac:spMkLst>
        </pc:spChg>
        <pc:spChg chg="mod">
          <ac:chgData name="Meyer Raphael (PAR-ES)" userId="79615dfe-ed48-4e74-a40f-4f7b034c1c27" providerId="ADAL" clId="{9E6DBD48-31D1-4C20-A692-B18B66411399}" dt="2021-06-24T11:37:11.260" v="48" actId="1037"/>
          <ac:spMkLst>
            <pc:docMk/>
            <pc:sldMk cId="689864941" sldId="366"/>
            <ac:spMk id="13" creationId="{93412675-62AA-41D8-997C-4E877ED953A8}"/>
          </ac:spMkLst>
        </pc:spChg>
        <pc:graphicFrameChg chg="mod modGraphic">
          <ac:chgData name="Meyer Raphael (PAR-ES)" userId="79615dfe-ed48-4e74-a40f-4f7b034c1c27" providerId="ADAL" clId="{9E6DBD48-31D1-4C20-A692-B18B66411399}" dt="2021-06-24T11:32:36.817" v="17" actId="20577"/>
          <ac:graphicFrameMkLst>
            <pc:docMk/>
            <pc:sldMk cId="689864941" sldId="366"/>
            <ac:graphicFrameMk id="9" creationId="{E1369C63-C4A7-403B-A03F-B004599F910A}"/>
          </ac:graphicFrameMkLst>
        </pc:graphicFrameChg>
        <pc:cxnChg chg="mod">
          <ac:chgData name="Meyer Raphael (PAR-ES)" userId="79615dfe-ed48-4e74-a40f-4f7b034c1c27" providerId="ADAL" clId="{9E6DBD48-31D1-4C20-A692-B18B66411399}" dt="2021-06-24T11:37:11.260" v="48" actId="1037"/>
          <ac:cxnSpMkLst>
            <pc:docMk/>
            <pc:sldMk cId="689864941" sldId="366"/>
            <ac:cxnSpMk id="8" creationId="{6F3EB9D3-E612-42D9-859B-1905BD876C26}"/>
          </ac:cxnSpMkLst>
        </pc:cxnChg>
      </pc:sldChg>
    </pc:docChg>
  </pc:docChgLst>
  <pc:docChgLst>
    <pc:chgData name="Meyer Raphael (PAR-ES)" userId="79615dfe-ed48-4e74-a40f-4f7b034c1c27" providerId="ADAL" clId="{5EE5A7C0-C573-4ECA-9195-43EA16DC6E49}"/>
    <pc:docChg chg="custSel addSld modSld">
      <pc:chgData name="Meyer Raphael (PAR-ES)" userId="79615dfe-ed48-4e74-a40f-4f7b034c1c27" providerId="ADAL" clId="{5EE5A7C0-C573-4ECA-9195-43EA16DC6E49}" dt="2021-05-26T08:44:41.610" v="755" actId="1038"/>
      <pc:docMkLst>
        <pc:docMk/>
      </pc:docMkLst>
      <pc:sldChg chg="mod">
        <pc:chgData name="Meyer Raphael (PAR-ES)" userId="79615dfe-ed48-4e74-a40f-4f7b034c1c27" providerId="ADAL" clId="{5EE5A7C0-C573-4ECA-9195-43EA16DC6E49}" dt="2021-05-26T08:39:13.561" v="105" actId="27918"/>
        <pc:sldMkLst>
          <pc:docMk/>
          <pc:sldMk cId="1495152177" sldId="298"/>
        </pc:sldMkLst>
      </pc:sldChg>
      <pc:sldChg chg="addSp delSp modSp new mod">
        <pc:chgData name="Meyer Raphael (PAR-ES)" userId="79615dfe-ed48-4e74-a40f-4f7b034c1c27" providerId="ADAL" clId="{5EE5A7C0-C573-4ECA-9195-43EA16DC6E49}" dt="2021-05-26T08:44:41.610" v="755" actId="1038"/>
        <pc:sldMkLst>
          <pc:docMk/>
          <pc:sldMk cId="3137099422" sldId="358"/>
        </pc:sldMkLst>
        <pc:spChg chg="mod">
          <ac:chgData name="Meyer Raphael (PAR-ES)" userId="79615dfe-ed48-4e74-a40f-4f7b034c1c27" providerId="ADAL" clId="{5EE5A7C0-C573-4ECA-9195-43EA16DC6E49}" dt="2021-05-26T08:37:52.665" v="103" actId="20577"/>
          <ac:spMkLst>
            <pc:docMk/>
            <pc:sldMk cId="3137099422" sldId="358"/>
            <ac:spMk id="2" creationId="{72711E6E-1416-465E-9A46-D62B6B2FD2A4}"/>
          </ac:spMkLst>
        </pc:spChg>
        <pc:spChg chg="del">
          <ac:chgData name="Meyer Raphael (PAR-ES)" userId="79615dfe-ed48-4e74-a40f-4f7b034c1c27" providerId="ADAL" clId="{5EE5A7C0-C573-4ECA-9195-43EA16DC6E49}" dt="2021-05-26T08:36:42.973" v="1" actId="478"/>
          <ac:spMkLst>
            <pc:docMk/>
            <pc:sldMk cId="3137099422" sldId="358"/>
            <ac:spMk id="4" creationId="{1CF7CC40-4689-4113-A1DE-5C9D701740EA}"/>
          </ac:spMkLst>
        </pc:spChg>
        <pc:spChg chg="add del mod">
          <ac:chgData name="Meyer Raphael (PAR-ES)" userId="79615dfe-ed48-4e74-a40f-4f7b034c1c27" providerId="ADAL" clId="{5EE5A7C0-C573-4ECA-9195-43EA16DC6E49}" dt="2021-05-26T08:41:44.447" v="515" actId="478"/>
          <ac:spMkLst>
            <pc:docMk/>
            <pc:sldMk cId="3137099422" sldId="358"/>
            <ac:spMk id="8" creationId="{58A1CE47-EA5C-4370-8726-76A3370213A0}"/>
          </ac:spMkLst>
        </pc:spChg>
        <pc:spChg chg="add mod">
          <ac:chgData name="Meyer Raphael (PAR-ES)" userId="79615dfe-ed48-4e74-a40f-4f7b034c1c27" providerId="ADAL" clId="{5EE5A7C0-C573-4ECA-9195-43EA16DC6E49}" dt="2021-05-26T08:44:41.610" v="755" actId="1038"/>
          <ac:spMkLst>
            <pc:docMk/>
            <pc:sldMk cId="3137099422" sldId="358"/>
            <ac:spMk id="9" creationId="{42AA12ED-4579-4FE5-A07A-BC01B76928FB}"/>
          </ac:spMkLst>
        </pc:spChg>
        <pc:spChg chg="add mod">
          <ac:chgData name="Meyer Raphael (PAR-ES)" userId="79615dfe-ed48-4e74-a40f-4f7b034c1c27" providerId="ADAL" clId="{5EE5A7C0-C573-4ECA-9195-43EA16DC6E49}" dt="2021-05-26T08:41:40.081" v="514" actId="1037"/>
          <ac:spMkLst>
            <pc:docMk/>
            <pc:sldMk cId="3137099422" sldId="358"/>
            <ac:spMk id="12" creationId="{4DA2B71E-2CC2-4C38-BAAB-A71345A07B83}"/>
          </ac:spMkLst>
        </pc:spChg>
        <pc:spChg chg="add mod">
          <ac:chgData name="Meyer Raphael (PAR-ES)" userId="79615dfe-ed48-4e74-a40f-4f7b034c1c27" providerId="ADAL" clId="{5EE5A7C0-C573-4ECA-9195-43EA16DC6E49}" dt="2021-05-26T08:41:13.405" v="409" actId="20577"/>
          <ac:spMkLst>
            <pc:docMk/>
            <pc:sldMk cId="3137099422" sldId="358"/>
            <ac:spMk id="13" creationId="{B946C02A-50DE-42C7-A209-D603829BA4B1}"/>
          </ac:spMkLst>
        </pc:spChg>
        <pc:graphicFrameChg chg="add mod">
          <ac:chgData name="Meyer Raphael (PAR-ES)" userId="79615dfe-ed48-4e74-a40f-4f7b034c1c27" providerId="ADAL" clId="{5EE5A7C0-C573-4ECA-9195-43EA16DC6E49}" dt="2021-05-26T08:37:08.839" v="16"/>
          <ac:graphicFrameMkLst>
            <pc:docMk/>
            <pc:sldMk cId="3137099422" sldId="358"/>
            <ac:graphicFrameMk id="5" creationId="{41AC7E07-D231-4F46-96CB-39403670D77F}"/>
          </ac:graphicFrameMkLst>
        </pc:graphicFrameChg>
        <pc:graphicFrameChg chg="add mod">
          <ac:chgData name="Meyer Raphael (PAR-ES)" userId="79615dfe-ed48-4e74-a40f-4f7b034c1c27" providerId="ADAL" clId="{5EE5A7C0-C573-4ECA-9195-43EA16DC6E49}" dt="2021-05-26T08:42:55.557" v="521"/>
          <ac:graphicFrameMkLst>
            <pc:docMk/>
            <pc:sldMk cId="3137099422" sldId="358"/>
            <ac:graphicFrameMk id="14" creationId="{41AC7E07-D231-4F46-96CB-39403670D77F}"/>
          </ac:graphicFrameMkLst>
        </pc:graphicFrameChg>
        <pc:picChg chg="add del mod">
          <ac:chgData name="Meyer Raphael (PAR-ES)" userId="79615dfe-ed48-4e74-a40f-4f7b034c1c27" providerId="ADAL" clId="{5EE5A7C0-C573-4ECA-9195-43EA16DC6E49}" dt="2021-05-26T08:42:47.763" v="516" actId="478"/>
          <ac:picMkLst>
            <pc:docMk/>
            <pc:sldMk cId="3137099422" sldId="358"/>
            <ac:picMk id="6" creationId="{4C1C2F28-32E3-43E7-8010-354E8EDFC1EA}"/>
          </ac:picMkLst>
        </pc:picChg>
        <pc:picChg chg="add mod ord">
          <ac:chgData name="Meyer Raphael (PAR-ES)" userId="79615dfe-ed48-4e74-a40f-4f7b034c1c27" providerId="ADAL" clId="{5EE5A7C0-C573-4ECA-9195-43EA16DC6E49}" dt="2021-05-26T08:44:30.116" v="748" actId="1037"/>
          <ac:picMkLst>
            <pc:docMk/>
            <pc:sldMk cId="3137099422" sldId="358"/>
            <ac:picMk id="15" creationId="{55BD0271-4DD3-43E3-A3B9-E8F00535D21A}"/>
          </ac:picMkLst>
        </pc:picChg>
        <pc:cxnChg chg="add mod">
          <ac:chgData name="Meyer Raphael (PAR-ES)" userId="79615dfe-ed48-4e74-a40f-4f7b034c1c27" providerId="ADAL" clId="{5EE5A7C0-C573-4ECA-9195-43EA16DC6E49}" dt="2021-05-26T08:44:41.610" v="755" actId="1038"/>
          <ac:cxnSpMkLst>
            <pc:docMk/>
            <pc:sldMk cId="3137099422" sldId="358"/>
            <ac:cxnSpMk id="7" creationId="{D77902D2-9169-4095-AF09-B1A9DB2A7B74}"/>
          </ac:cxnSpMkLst>
        </pc:cxnChg>
        <pc:cxnChg chg="add mod">
          <ac:chgData name="Meyer Raphael (PAR-ES)" userId="79615dfe-ed48-4e74-a40f-4f7b034c1c27" providerId="ADAL" clId="{5EE5A7C0-C573-4ECA-9195-43EA16DC6E49}" dt="2021-05-26T08:41:08.261" v="407" actId="1035"/>
          <ac:cxnSpMkLst>
            <pc:docMk/>
            <pc:sldMk cId="3137099422" sldId="358"/>
            <ac:cxnSpMk id="11" creationId="{A9B79FFE-7EB4-42F9-AF46-169C3E5C72D5}"/>
          </ac:cxnSpMkLst>
        </pc:cxnChg>
      </pc:sldChg>
    </pc:docChg>
  </pc:docChgLst>
  <pc:docChgLst>
    <pc:chgData name="Meyer Raphael (PAR-ES)" userId="79615dfe-ed48-4e74-a40f-4f7b034c1c27" providerId="ADAL" clId="{66C4A0EA-2388-4B74-96B0-FDC2F7AF02B2}"/>
    <pc:docChg chg="custSel addSld delSld modSld sldOrd">
      <pc:chgData name="Meyer Raphael (PAR-ES)" userId="79615dfe-ed48-4e74-a40f-4f7b034c1c27" providerId="ADAL" clId="{66C4A0EA-2388-4B74-96B0-FDC2F7AF02B2}" dt="2022-03-09T16:23:27.109" v="55" actId="27918"/>
      <pc:docMkLst>
        <pc:docMk/>
      </pc:docMkLst>
      <pc:sldChg chg="del">
        <pc:chgData name="Meyer Raphael (PAR-ES)" userId="79615dfe-ed48-4e74-a40f-4f7b034c1c27" providerId="ADAL" clId="{66C4A0EA-2388-4B74-96B0-FDC2F7AF02B2}" dt="2022-03-09T16:15:51.523" v="0" actId="47"/>
        <pc:sldMkLst>
          <pc:docMk/>
          <pc:sldMk cId="1774855510" sldId="414"/>
        </pc:sldMkLst>
      </pc:sldChg>
      <pc:sldChg chg="mod">
        <pc:chgData name="Meyer Raphael (PAR-ES)" userId="79615dfe-ed48-4e74-a40f-4f7b034c1c27" providerId="ADAL" clId="{66C4A0EA-2388-4B74-96B0-FDC2F7AF02B2}" dt="2022-03-09T16:18:35.148" v="24" actId="27918"/>
        <pc:sldMkLst>
          <pc:docMk/>
          <pc:sldMk cId="3865012081" sldId="415"/>
        </pc:sldMkLst>
      </pc:sldChg>
      <pc:sldChg chg="modSp add mod ord">
        <pc:chgData name="Meyer Raphael (PAR-ES)" userId="79615dfe-ed48-4e74-a40f-4f7b034c1c27" providerId="ADAL" clId="{66C4A0EA-2388-4B74-96B0-FDC2F7AF02B2}" dt="2022-03-09T16:18:54.115" v="29"/>
        <pc:sldMkLst>
          <pc:docMk/>
          <pc:sldMk cId="2868978950" sldId="416"/>
        </pc:sldMkLst>
        <pc:spChg chg="mod">
          <ac:chgData name="Meyer Raphael (PAR-ES)" userId="79615dfe-ed48-4e74-a40f-4f7b034c1c27" providerId="ADAL" clId="{66C4A0EA-2388-4B74-96B0-FDC2F7AF02B2}" dt="2022-03-09T16:16:26.111" v="4"/>
          <ac:spMkLst>
            <pc:docMk/>
            <pc:sldMk cId="2868978950" sldId="416"/>
            <ac:spMk id="10" creationId="{A572A723-7466-42C5-BC49-15C6E380BE11}"/>
          </ac:spMkLst>
        </pc:spChg>
        <pc:spChg chg="mod">
          <ac:chgData name="Meyer Raphael (PAR-ES)" userId="79615dfe-ed48-4e74-a40f-4f7b034c1c27" providerId="ADAL" clId="{66C4A0EA-2388-4B74-96B0-FDC2F7AF02B2}" dt="2022-03-09T16:16:51.514" v="5"/>
          <ac:spMkLst>
            <pc:docMk/>
            <pc:sldMk cId="2868978950" sldId="416"/>
            <ac:spMk id="11" creationId="{45495507-A500-4876-A7D7-039B7559AD0C}"/>
          </ac:spMkLst>
        </pc:spChg>
      </pc:sldChg>
      <pc:sldChg chg="modSp add mod">
        <pc:chgData name="Meyer Raphael (PAR-ES)" userId="79615dfe-ed48-4e74-a40f-4f7b034c1c27" providerId="ADAL" clId="{66C4A0EA-2388-4B74-96B0-FDC2F7AF02B2}" dt="2022-03-09T16:21:27.322" v="42" actId="27918"/>
        <pc:sldMkLst>
          <pc:docMk/>
          <pc:sldMk cId="976233813" sldId="417"/>
        </pc:sldMkLst>
        <pc:spChg chg="mod">
          <ac:chgData name="Meyer Raphael (PAR-ES)" userId="79615dfe-ed48-4e74-a40f-4f7b034c1c27" providerId="ADAL" clId="{66C4A0EA-2388-4B74-96B0-FDC2F7AF02B2}" dt="2022-03-09T16:19:41.464" v="30"/>
          <ac:spMkLst>
            <pc:docMk/>
            <pc:sldMk cId="976233813" sldId="417"/>
            <ac:spMk id="10" creationId="{A572A723-7466-42C5-BC49-15C6E380BE11}"/>
          </ac:spMkLst>
        </pc:spChg>
        <pc:spChg chg="mod">
          <ac:chgData name="Meyer Raphael (PAR-ES)" userId="79615dfe-ed48-4e74-a40f-4f7b034c1c27" providerId="ADAL" clId="{66C4A0EA-2388-4B74-96B0-FDC2F7AF02B2}" dt="2022-03-09T16:20:01.271" v="31"/>
          <ac:spMkLst>
            <pc:docMk/>
            <pc:sldMk cId="976233813" sldId="417"/>
            <ac:spMk id="11" creationId="{45495507-A500-4876-A7D7-039B7559AD0C}"/>
          </ac:spMkLst>
        </pc:spChg>
        <pc:spChg chg="mod">
          <ac:chgData name="Meyer Raphael (PAR-ES)" userId="79615dfe-ed48-4e74-a40f-4f7b034c1c27" providerId="ADAL" clId="{66C4A0EA-2388-4B74-96B0-FDC2F7AF02B2}" dt="2022-03-09T16:21:05.488" v="37" actId="20577"/>
          <ac:spMkLst>
            <pc:docMk/>
            <pc:sldMk cId="976233813" sldId="417"/>
            <ac:spMk id="12" creationId="{1A4657D7-3337-475E-8E67-E8F468A949AF}"/>
          </ac:spMkLst>
        </pc:spChg>
      </pc:sldChg>
      <pc:sldChg chg="add del">
        <pc:chgData name="Meyer Raphael (PAR-ES)" userId="79615dfe-ed48-4e74-a40f-4f7b034c1c27" providerId="ADAL" clId="{66C4A0EA-2388-4B74-96B0-FDC2F7AF02B2}" dt="2022-03-09T16:18:43.739" v="25" actId="47"/>
        <pc:sldMkLst>
          <pc:docMk/>
          <pc:sldMk cId="3015967454" sldId="417"/>
        </pc:sldMkLst>
      </pc:sldChg>
      <pc:sldChg chg="modSp add mod">
        <pc:chgData name="Meyer Raphael (PAR-ES)" userId="79615dfe-ed48-4e74-a40f-4f7b034c1c27" providerId="ADAL" clId="{66C4A0EA-2388-4B74-96B0-FDC2F7AF02B2}" dt="2022-03-09T16:23:27.109" v="55" actId="27918"/>
        <pc:sldMkLst>
          <pc:docMk/>
          <pc:sldMk cId="407174717" sldId="418"/>
        </pc:sldMkLst>
        <pc:spChg chg="mod">
          <ac:chgData name="Meyer Raphael (PAR-ES)" userId="79615dfe-ed48-4e74-a40f-4f7b034c1c27" providerId="ADAL" clId="{66C4A0EA-2388-4B74-96B0-FDC2F7AF02B2}" dt="2022-03-09T16:22:17.056" v="43"/>
          <ac:spMkLst>
            <pc:docMk/>
            <pc:sldMk cId="407174717" sldId="418"/>
            <ac:spMk id="10" creationId="{A572A723-7466-42C5-BC49-15C6E380BE11}"/>
          </ac:spMkLst>
        </pc:spChg>
        <pc:spChg chg="mod">
          <ac:chgData name="Meyer Raphael (PAR-ES)" userId="79615dfe-ed48-4e74-a40f-4f7b034c1c27" providerId="ADAL" clId="{66C4A0EA-2388-4B74-96B0-FDC2F7AF02B2}" dt="2022-03-09T16:22:37.624" v="44"/>
          <ac:spMkLst>
            <pc:docMk/>
            <pc:sldMk cId="407174717" sldId="418"/>
            <ac:spMk id="11" creationId="{45495507-A500-4876-A7D7-039B7559AD0C}"/>
          </ac:spMkLst>
        </pc:spChg>
        <pc:spChg chg="mod">
          <ac:chgData name="Meyer Raphael (PAR-ES)" userId="79615dfe-ed48-4e74-a40f-4f7b034c1c27" providerId="ADAL" clId="{66C4A0EA-2388-4B74-96B0-FDC2F7AF02B2}" dt="2022-03-09T16:22:41.606" v="50" actId="20577"/>
          <ac:spMkLst>
            <pc:docMk/>
            <pc:sldMk cId="407174717" sldId="418"/>
            <ac:spMk id="12" creationId="{1A4657D7-3337-475E-8E67-E8F468A949AF}"/>
          </ac:spMkLst>
        </pc:spChg>
      </pc:sldChg>
      <pc:sldChg chg="add del">
        <pc:chgData name="Meyer Raphael (PAR-ES)" userId="79615dfe-ed48-4e74-a40f-4f7b034c1c27" providerId="ADAL" clId="{66C4A0EA-2388-4B74-96B0-FDC2F7AF02B2}" dt="2022-03-09T16:18:43.739" v="25" actId="47"/>
        <pc:sldMkLst>
          <pc:docMk/>
          <pc:sldMk cId="2492649957" sldId="418"/>
        </pc:sldMkLst>
      </pc:sldChg>
    </pc:docChg>
  </pc:docChgLst>
  <pc:docChgLst>
    <pc:chgData name="Meyer Raphael (PAR-ES)" userId="79615dfe-ed48-4e74-a40f-4f7b034c1c27" providerId="ADAL" clId="{604C7573-E99D-4734-9F02-8AA094A0E7FB}"/>
    <pc:docChg chg="undo custSel addSld modSld sldOrd">
      <pc:chgData name="Meyer Raphael (PAR-ES)" userId="79615dfe-ed48-4e74-a40f-4f7b034c1c27" providerId="ADAL" clId="{604C7573-E99D-4734-9F02-8AA094A0E7FB}" dt="2021-09-15T13:50:11.898" v="247" actId="1037"/>
      <pc:docMkLst>
        <pc:docMk/>
      </pc:docMkLst>
      <pc:sldChg chg="ord">
        <pc:chgData name="Meyer Raphael (PAR-ES)" userId="79615dfe-ed48-4e74-a40f-4f7b034c1c27" providerId="ADAL" clId="{604C7573-E99D-4734-9F02-8AA094A0E7FB}" dt="2021-09-15T12:33:07.419" v="1"/>
        <pc:sldMkLst>
          <pc:docMk/>
          <pc:sldMk cId="277025245" sldId="325"/>
        </pc:sldMkLst>
      </pc:sldChg>
      <pc:sldChg chg="addSp delSp modSp mod">
        <pc:chgData name="Meyer Raphael (PAR-ES)" userId="79615dfe-ed48-4e74-a40f-4f7b034c1c27" providerId="ADAL" clId="{604C7573-E99D-4734-9F02-8AA094A0E7FB}" dt="2021-09-15T12:58:20.808" v="184" actId="21"/>
        <pc:sldMkLst>
          <pc:docMk/>
          <pc:sldMk cId="689864941" sldId="366"/>
        </pc:sldMkLst>
        <pc:cxnChg chg="add del mod">
          <ac:chgData name="Meyer Raphael (PAR-ES)" userId="79615dfe-ed48-4e74-a40f-4f7b034c1c27" providerId="ADAL" clId="{604C7573-E99D-4734-9F02-8AA094A0E7FB}" dt="2021-09-15T12:56:42.440" v="176" actId="21"/>
          <ac:cxnSpMkLst>
            <pc:docMk/>
            <pc:sldMk cId="689864941" sldId="366"/>
            <ac:cxnSpMk id="11" creationId="{4176DA4F-7562-404E-8889-9AB0869064CC}"/>
          </ac:cxnSpMkLst>
        </pc:cxnChg>
        <pc:cxnChg chg="add del mod">
          <ac:chgData name="Meyer Raphael (PAR-ES)" userId="79615dfe-ed48-4e74-a40f-4f7b034c1c27" providerId="ADAL" clId="{604C7573-E99D-4734-9F02-8AA094A0E7FB}" dt="2021-09-15T12:58:20.808" v="184" actId="21"/>
          <ac:cxnSpMkLst>
            <pc:docMk/>
            <pc:sldMk cId="689864941" sldId="366"/>
            <ac:cxnSpMk id="14" creationId="{0F62341E-47D1-4FC0-8B25-F01CAE3A0A5A}"/>
          </ac:cxnSpMkLst>
        </pc:cxnChg>
      </pc:sldChg>
      <pc:sldChg chg="addSp delSp modSp add mod ord">
        <pc:chgData name="Meyer Raphael (PAR-ES)" userId="79615dfe-ed48-4e74-a40f-4f7b034c1c27" providerId="ADAL" clId="{604C7573-E99D-4734-9F02-8AA094A0E7FB}" dt="2021-09-15T13:50:11.898" v="247" actId="1037"/>
        <pc:sldMkLst>
          <pc:docMk/>
          <pc:sldMk cId="2029197701" sldId="367"/>
        </pc:sldMkLst>
        <pc:spChg chg="mod">
          <ac:chgData name="Meyer Raphael (PAR-ES)" userId="79615dfe-ed48-4e74-a40f-4f7b034c1c27" providerId="ADAL" clId="{604C7573-E99D-4734-9F02-8AA094A0E7FB}" dt="2021-09-15T12:52:12.602" v="31" actId="6549"/>
          <ac:spMkLst>
            <pc:docMk/>
            <pc:sldMk cId="2029197701" sldId="367"/>
            <ac:spMk id="2" creationId="{A2DC317F-F1F4-4624-8FC1-3B68C1DBB3DA}"/>
          </ac:spMkLst>
        </pc:spChg>
        <pc:spChg chg="mod">
          <ac:chgData name="Meyer Raphael (PAR-ES)" userId="79615dfe-ed48-4e74-a40f-4f7b034c1c27" providerId="ADAL" clId="{604C7573-E99D-4734-9F02-8AA094A0E7FB}" dt="2021-09-15T12:59:18.558" v="190" actId="1076"/>
          <ac:spMkLst>
            <pc:docMk/>
            <pc:sldMk cId="2029197701" sldId="367"/>
            <ac:spMk id="6" creationId="{0EEE4EA3-E16E-424B-97F9-53A8F5D585AE}"/>
          </ac:spMkLst>
        </pc:spChg>
        <pc:spChg chg="del mod">
          <ac:chgData name="Meyer Raphael (PAR-ES)" userId="79615dfe-ed48-4e74-a40f-4f7b034c1c27" providerId="ADAL" clId="{604C7573-E99D-4734-9F02-8AA094A0E7FB}" dt="2021-09-15T12:53:10.332" v="36" actId="478"/>
          <ac:spMkLst>
            <pc:docMk/>
            <pc:sldMk cId="2029197701" sldId="367"/>
            <ac:spMk id="7" creationId="{51421822-C303-4FC2-BF5E-F4377E568635}"/>
          </ac:spMkLst>
        </pc:spChg>
        <pc:spChg chg="add del mod">
          <ac:chgData name="Meyer Raphael (PAR-ES)" userId="79615dfe-ed48-4e74-a40f-4f7b034c1c27" providerId="ADAL" clId="{604C7573-E99D-4734-9F02-8AA094A0E7FB}" dt="2021-09-15T12:58:51.024" v="187" actId="478"/>
          <ac:spMkLst>
            <pc:docMk/>
            <pc:sldMk cId="2029197701" sldId="367"/>
            <ac:spMk id="9" creationId="{D998D4EE-347D-491E-A955-8C3A7DCD2FB7}"/>
          </ac:spMkLst>
        </pc:spChg>
        <pc:spChg chg="add mod">
          <ac:chgData name="Meyer Raphael (PAR-ES)" userId="79615dfe-ed48-4e74-a40f-4f7b034c1c27" providerId="ADAL" clId="{604C7573-E99D-4734-9F02-8AA094A0E7FB}" dt="2021-09-15T13:50:11.898" v="247" actId="1037"/>
          <ac:spMkLst>
            <pc:docMk/>
            <pc:sldMk cId="2029197701" sldId="367"/>
            <ac:spMk id="12" creationId="{CCAD2928-2677-455E-9AD8-E0C7482EEB5F}"/>
          </ac:spMkLst>
        </pc:spChg>
        <pc:spChg chg="add mod">
          <ac:chgData name="Meyer Raphael (PAR-ES)" userId="79615dfe-ed48-4e74-a40f-4f7b034c1c27" providerId="ADAL" clId="{604C7573-E99D-4734-9F02-8AA094A0E7FB}" dt="2021-09-15T13:50:11.898" v="247" actId="1037"/>
          <ac:spMkLst>
            <pc:docMk/>
            <pc:sldMk cId="2029197701" sldId="367"/>
            <ac:spMk id="13" creationId="{FC7E6A41-4BB4-434A-A8BA-48990602A5EE}"/>
          </ac:spMkLst>
        </pc:spChg>
        <pc:spChg chg="del">
          <ac:chgData name="Meyer Raphael (PAR-ES)" userId="79615dfe-ed48-4e74-a40f-4f7b034c1c27" providerId="ADAL" clId="{604C7573-E99D-4734-9F02-8AA094A0E7FB}" dt="2021-09-15T12:45:08.761" v="8" actId="478"/>
          <ac:spMkLst>
            <pc:docMk/>
            <pc:sldMk cId="2029197701" sldId="367"/>
            <ac:spMk id="15" creationId="{CC1F0CCA-7B55-41F9-A1FF-769ED7C753BD}"/>
          </ac:spMkLst>
        </pc:spChg>
        <pc:spChg chg="add mod">
          <ac:chgData name="Meyer Raphael (PAR-ES)" userId="79615dfe-ed48-4e74-a40f-4f7b034c1c27" providerId="ADAL" clId="{604C7573-E99D-4734-9F02-8AA094A0E7FB}" dt="2021-09-15T12:59:01.215" v="188"/>
          <ac:spMkLst>
            <pc:docMk/>
            <pc:sldMk cId="2029197701" sldId="367"/>
            <ac:spMk id="17" creationId="{3E356E17-F4BA-401D-BB33-6300C254C959}"/>
          </ac:spMkLst>
        </pc:spChg>
        <pc:graphicFrameChg chg="mod">
          <ac:chgData name="Meyer Raphael (PAR-ES)" userId="79615dfe-ed48-4e74-a40f-4f7b034c1c27" providerId="ADAL" clId="{604C7573-E99D-4734-9F02-8AA094A0E7FB}" dt="2021-09-15T13:48:26.480" v="241" actId="1076"/>
          <ac:graphicFrameMkLst>
            <pc:docMk/>
            <pc:sldMk cId="2029197701" sldId="367"/>
            <ac:graphicFrameMk id="5" creationId="{4CF6AB8B-CAB9-4C7E-8E59-E00357A4D7F0}"/>
          </ac:graphicFrameMkLst>
        </pc:graphicFrameChg>
        <pc:cxnChg chg="add mod">
          <ac:chgData name="Meyer Raphael (PAR-ES)" userId="79615dfe-ed48-4e74-a40f-4f7b034c1c27" providerId="ADAL" clId="{604C7573-E99D-4734-9F02-8AA094A0E7FB}" dt="2021-09-15T13:50:11.898" v="247" actId="1037"/>
          <ac:cxnSpMkLst>
            <pc:docMk/>
            <pc:sldMk cId="2029197701" sldId="367"/>
            <ac:cxnSpMk id="11" creationId="{61A01D27-79D8-4D0E-AC84-EDE76E7AF0DF}"/>
          </ac:cxnSpMkLst>
        </pc:cxnChg>
        <pc:cxnChg chg="add del mod">
          <ac:chgData name="Meyer Raphael (PAR-ES)" userId="79615dfe-ed48-4e74-a40f-4f7b034c1c27" providerId="ADAL" clId="{604C7573-E99D-4734-9F02-8AA094A0E7FB}" dt="2021-09-15T12:57:59.416" v="179" actId="21"/>
          <ac:cxnSpMkLst>
            <pc:docMk/>
            <pc:sldMk cId="2029197701" sldId="367"/>
            <ac:cxnSpMk id="14" creationId="{18A46E03-042B-4930-AF10-65BD514A3D22}"/>
          </ac:cxnSpMkLst>
        </pc:cxnChg>
        <pc:cxnChg chg="add del mod">
          <ac:chgData name="Meyer Raphael (PAR-ES)" userId="79615dfe-ed48-4e74-a40f-4f7b034c1c27" providerId="ADAL" clId="{604C7573-E99D-4734-9F02-8AA094A0E7FB}" dt="2021-09-15T12:58:26.768" v="186" actId="478"/>
          <ac:cxnSpMkLst>
            <pc:docMk/>
            <pc:sldMk cId="2029197701" sldId="367"/>
            <ac:cxnSpMk id="16" creationId="{A84CD970-FF7E-44EA-8127-506E0BA9215A}"/>
          </ac:cxnSpMkLst>
        </pc:cxnChg>
      </pc:sldChg>
    </pc:docChg>
  </pc:docChgLst>
  <pc:docChgLst>
    <pc:chgData name="Meyer Raphael (PAR-ES)" userId="79615dfe-ed48-4e74-a40f-4f7b034c1c27" providerId="ADAL" clId="{AD707207-28DB-44DB-BFE3-BB16A1A03D6C}"/>
    <pc:docChg chg="addSld delSld modSld">
      <pc:chgData name="Meyer Raphael (PAR-ES)" userId="79615dfe-ed48-4e74-a40f-4f7b034c1c27" providerId="ADAL" clId="{AD707207-28DB-44DB-BFE3-BB16A1A03D6C}" dt="2021-11-08T12:03:59.863" v="4" actId="47"/>
      <pc:docMkLst>
        <pc:docMk/>
      </pc:docMkLst>
      <pc:sldChg chg="del">
        <pc:chgData name="Meyer Raphael (PAR-ES)" userId="79615dfe-ed48-4e74-a40f-4f7b034c1c27" providerId="ADAL" clId="{AD707207-28DB-44DB-BFE3-BB16A1A03D6C}" dt="2021-11-08T12:03:59.863" v="4" actId="47"/>
        <pc:sldMkLst>
          <pc:docMk/>
          <pc:sldMk cId="3808035539" sldId="270"/>
        </pc:sldMkLst>
      </pc:sldChg>
      <pc:sldChg chg="add">
        <pc:chgData name="Meyer Raphael (PAR-ES)" userId="79615dfe-ed48-4e74-a40f-4f7b034c1c27" providerId="ADAL" clId="{AD707207-28DB-44DB-BFE3-BB16A1A03D6C}" dt="2021-11-08T11:51:36.065" v="0" actId="2890"/>
        <pc:sldMkLst>
          <pc:docMk/>
          <pc:sldMk cId="2641487227" sldId="271"/>
        </pc:sldMkLst>
      </pc:sldChg>
      <pc:sldChg chg="addSp modSp new del">
        <pc:chgData name="Meyer Raphael (PAR-ES)" userId="79615dfe-ed48-4e74-a40f-4f7b034c1c27" providerId="ADAL" clId="{AD707207-28DB-44DB-BFE3-BB16A1A03D6C}" dt="2021-11-08T12:03:52.132" v="3" actId="47"/>
        <pc:sldMkLst>
          <pc:docMk/>
          <pc:sldMk cId="934294936" sldId="272"/>
        </pc:sldMkLst>
        <pc:graphicFrameChg chg="add mod">
          <ac:chgData name="Meyer Raphael (PAR-ES)" userId="79615dfe-ed48-4e74-a40f-4f7b034c1c27" providerId="ADAL" clId="{AD707207-28DB-44DB-BFE3-BB16A1A03D6C}" dt="2021-11-08T12:03:44.764" v="2"/>
          <ac:graphicFrameMkLst>
            <pc:docMk/>
            <pc:sldMk cId="934294936" sldId="272"/>
            <ac:graphicFrameMk id="6" creationId="{C4C775E3-3FF9-42C2-9363-3ECDA4A2A7C5}"/>
          </ac:graphicFrameMkLst>
        </pc:graphicFrameChg>
      </pc:sldChg>
    </pc:docChg>
  </pc:docChgLst>
  <pc:docChgLst>
    <pc:chgData name="Meyer Raphael (PAR-ES)" userId="79615dfe-ed48-4e74-a40f-4f7b034c1c27" providerId="ADAL" clId="{C5BC34D6-6441-48E7-88C4-E6F3F437ED46}"/>
    <pc:docChg chg="custSel addSld delSld modSld sldOrd">
      <pc:chgData name="Meyer Raphael (PAR-ES)" userId="79615dfe-ed48-4e74-a40f-4f7b034c1c27" providerId="ADAL" clId="{C5BC34D6-6441-48E7-88C4-E6F3F437ED46}" dt="2021-03-11T09:10:51.538" v="87" actId="2696"/>
      <pc:docMkLst>
        <pc:docMk/>
      </pc:docMkLst>
      <pc:sldChg chg="modSp mod">
        <pc:chgData name="Meyer Raphael (PAR-ES)" userId="79615dfe-ed48-4e74-a40f-4f7b034c1c27" providerId="ADAL" clId="{C5BC34D6-6441-48E7-88C4-E6F3F437ED46}" dt="2021-03-11T09:07:31.799" v="66" actId="1076"/>
        <pc:sldMkLst>
          <pc:docMk/>
          <pc:sldMk cId="1667945532" sldId="306"/>
        </pc:sldMkLst>
        <pc:spChg chg="mod">
          <ac:chgData name="Meyer Raphael (PAR-ES)" userId="79615dfe-ed48-4e74-a40f-4f7b034c1c27" providerId="ADAL" clId="{C5BC34D6-6441-48E7-88C4-E6F3F437ED46}" dt="2021-03-11T09:02:10.785" v="1" actId="20577"/>
          <ac:spMkLst>
            <pc:docMk/>
            <pc:sldMk cId="1667945532" sldId="306"/>
            <ac:spMk id="8" creationId="{5857C2A1-2CB8-4D4A-AEFD-E809BF73D04F}"/>
          </ac:spMkLst>
        </pc:spChg>
        <pc:spChg chg="mod">
          <ac:chgData name="Meyer Raphael (PAR-ES)" userId="79615dfe-ed48-4e74-a40f-4f7b034c1c27" providerId="ADAL" clId="{C5BC34D6-6441-48E7-88C4-E6F3F437ED46}" dt="2021-03-11T09:02:32.327" v="13" actId="20577"/>
          <ac:spMkLst>
            <pc:docMk/>
            <pc:sldMk cId="1667945532" sldId="306"/>
            <ac:spMk id="27" creationId="{46A6B042-39EE-4A58-BBAA-13D52264B660}"/>
          </ac:spMkLst>
        </pc:spChg>
        <pc:spChg chg="mod">
          <ac:chgData name="Meyer Raphael (PAR-ES)" userId="79615dfe-ed48-4e74-a40f-4f7b034c1c27" providerId="ADAL" clId="{C5BC34D6-6441-48E7-88C4-E6F3F437ED46}" dt="2021-03-11T09:07:31.799" v="66" actId="1076"/>
          <ac:spMkLst>
            <pc:docMk/>
            <pc:sldMk cId="1667945532" sldId="306"/>
            <ac:spMk id="28" creationId="{4492A3CD-6943-423D-BFEC-8129889E8B6F}"/>
          </ac:spMkLst>
        </pc:spChg>
        <pc:spChg chg="mod">
          <ac:chgData name="Meyer Raphael (PAR-ES)" userId="79615dfe-ed48-4e74-a40f-4f7b034c1c27" providerId="ADAL" clId="{C5BC34D6-6441-48E7-88C4-E6F3F437ED46}" dt="2021-03-11T09:02:51.589" v="25" actId="20577"/>
          <ac:spMkLst>
            <pc:docMk/>
            <pc:sldMk cId="1667945532" sldId="306"/>
            <ac:spMk id="31" creationId="{7491A47D-CAD4-478D-8F3A-296FFCB799F9}"/>
          </ac:spMkLst>
        </pc:spChg>
      </pc:sldChg>
      <pc:sldChg chg="del">
        <pc:chgData name="Meyer Raphael (PAR-ES)" userId="79615dfe-ed48-4e74-a40f-4f7b034c1c27" providerId="ADAL" clId="{C5BC34D6-6441-48E7-88C4-E6F3F437ED46}" dt="2021-03-11T09:09:15.794" v="78" actId="2696"/>
        <pc:sldMkLst>
          <pc:docMk/>
          <pc:sldMk cId="1837760195" sldId="334"/>
        </pc:sldMkLst>
      </pc:sldChg>
      <pc:sldChg chg="del">
        <pc:chgData name="Meyer Raphael (PAR-ES)" userId="79615dfe-ed48-4e74-a40f-4f7b034c1c27" providerId="ADAL" clId="{C5BC34D6-6441-48E7-88C4-E6F3F437ED46}" dt="2021-03-11T09:10:51.538" v="87" actId="2696"/>
        <pc:sldMkLst>
          <pc:docMk/>
          <pc:sldMk cId="3853260059" sldId="335"/>
        </pc:sldMkLst>
      </pc:sldChg>
      <pc:sldChg chg="addSp delSp modSp add ord">
        <pc:chgData name="Meyer Raphael (PAR-ES)" userId="79615dfe-ed48-4e74-a40f-4f7b034c1c27" providerId="ADAL" clId="{C5BC34D6-6441-48E7-88C4-E6F3F437ED46}" dt="2021-03-11T09:09:06.381" v="77"/>
        <pc:sldMkLst>
          <pc:docMk/>
          <pc:sldMk cId="3843819818" sldId="336"/>
        </pc:sldMkLst>
        <pc:spChg chg="mod">
          <ac:chgData name="Meyer Raphael (PAR-ES)" userId="79615dfe-ed48-4e74-a40f-4f7b034c1c27" providerId="ADAL" clId="{C5BC34D6-6441-48E7-88C4-E6F3F437ED46}" dt="2021-03-11T09:08:12.975" v="71"/>
          <ac:spMkLst>
            <pc:docMk/>
            <pc:sldMk cId="3843819818" sldId="336"/>
            <ac:spMk id="2" creationId="{A2DC317F-F1F4-4624-8FC1-3B68C1DBB3DA}"/>
          </ac:spMkLst>
        </pc:spChg>
        <pc:spChg chg="del">
          <ac:chgData name="Meyer Raphael (PAR-ES)" userId="79615dfe-ed48-4e74-a40f-4f7b034c1c27" providerId="ADAL" clId="{C5BC34D6-6441-48E7-88C4-E6F3F437ED46}" dt="2021-03-11T09:08:35.578" v="73" actId="478"/>
          <ac:spMkLst>
            <pc:docMk/>
            <pc:sldMk cId="3843819818" sldId="336"/>
            <ac:spMk id="7" creationId="{BA3F9A72-0541-4D1F-8CD8-1C2B8074FA1B}"/>
          </ac:spMkLst>
        </pc:spChg>
        <pc:spChg chg="mod">
          <ac:chgData name="Meyer Raphael (PAR-ES)" userId="79615dfe-ed48-4e74-a40f-4f7b034c1c27" providerId="ADAL" clId="{C5BC34D6-6441-48E7-88C4-E6F3F437ED46}" dt="2021-03-11T09:08:55.739" v="76" actId="14100"/>
          <ac:spMkLst>
            <pc:docMk/>
            <pc:sldMk cId="3843819818" sldId="336"/>
            <ac:spMk id="8" creationId="{5857C2A1-2CB8-4D4A-AEFD-E809BF73D04F}"/>
          </ac:spMkLst>
        </pc:spChg>
        <pc:spChg chg="del">
          <ac:chgData name="Meyer Raphael (PAR-ES)" userId="79615dfe-ed48-4e74-a40f-4f7b034c1c27" providerId="ADAL" clId="{C5BC34D6-6441-48E7-88C4-E6F3F437ED46}" dt="2021-03-11T09:08:35.578" v="73" actId="478"/>
          <ac:spMkLst>
            <pc:docMk/>
            <pc:sldMk cId="3843819818" sldId="336"/>
            <ac:spMk id="9" creationId="{B6990B61-32B2-4ADC-BF01-EDF7B4080F97}"/>
          </ac:spMkLst>
        </pc:spChg>
        <pc:spChg chg="mod">
          <ac:chgData name="Meyer Raphael (PAR-ES)" userId="79615dfe-ed48-4e74-a40f-4f7b034c1c27" providerId="ADAL" clId="{C5BC34D6-6441-48E7-88C4-E6F3F437ED46}" dt="2021-03-11T09:08:21.986" v="72"/>
          <ac:spMkLst>
            <pc:docMk/>
            <pc:sldMk cId="3843819818" sldId="336"/>
            <ac:spMk id="10" creationId="{077DFD58-E5EE-4B68-9325-D935DB04DD40}"/>
          </ac:spMkLst>
        </pc:spChg>
        <pc:spChg chg="del">
          <ac:chgData name="Meyer Raphael (PAR-ES)" userId="79615dfe-ed48-4e74-a40f-4f7b034c1c27" providerId="ADAL" clId="{C5BC34D6-6441-48E7-88C4-E6F3F437ED46}" dt="2021-03-11T09:08:35.578" v="73" actId="478"/>
          <ac:spMkLst>
            <pc:docMk/>
            <pc:sldMk cId="3843819818" sldId="336"/>
            <ac:spMk id="17" creationId="{785E740C-F94A-4208-8DFD-63A603C16577}"/>
          </ac:spMkLst>
        </pc:spChg>
        <pc:spChg chg="add">
          <ac:chgData name="Meyer Raphael (PAR-ES)" userId="79615dfe-ed48-4e74-a40f-4f7b034c1c27" providerId="ADAL" clId="{C5BC34D6-6441-48E7-88C4-E6F3F437ED46}" dt="2021-03-11T09:08:46.965" v="74"/>
          <ac:spMkLst>
            <pc:docMk/>
            <pc:sldMk cId="3843819818" sldId="336"/>
            <ac:spMk id="23" creationId="{AE9E7413-2454-4A46-82BE-74EC408C6252}"/>
          </ac:spMkLst>
        </pc:spChg>
        <pc:spChg chg="del">
          <ac:chgData name="Meyer Raphael (PAR-ES)" userId="79615dfe-ed48-4e74-a40f-4f7b034c1c27" providerId="ADAL" clId="{C5BC34D6-6441-48E7-88C4-E6F3F437ED46}" dt="2021-03-11T09:08:35.578" v="73" actId="478"/>
          <ac:spMkLst>
            <pc:docMk/>
            <pc:sldMk cId="3843819818" sldId="336"/>
            <ac:spMk id="26" creationId="{BFD498B5-D73E-4C8A-9FAF-B3547647538C}"/>
          </ac:spMkLst>
        </pc:spChg>
        <pc:spChg chg="mod">
          <ac:chgData name="Meyer Raphael (PAR-ES)" userId="79615dfe-ed48-4e74-a40f-4f7b034c1c27" providerId="ADAL" clId="{C5BC34D6-6441-48E7-88C4-E6F3F437ED46}" dt="2021-03-11T09:09:06.381" v="77"/>
          <ac:spMkLst>
            <pc:docMk/>
            <pc:sldMk cId="3843819818" sldId="336"/>
            <ac:spMk id="27" creationId="{46A6B042-39EE-4A58-BBAA-13D52264B660}"/>
          </ac:spMkLst>
        </pc:spChg>
        <pc:spChg chg="add">
          <ac:chgData name="Meyer Raphael (PAR-ES)" userId="79615dfe-ed48-4e74-a40f-4f7b034c1c27" providerId="ADAL" clId="{C5BC34D6-6441-48E7-88C4-E6F3F437ED46}" dt="2021-03-11T09:08:46.965" v="74"/>
          <ac:spMkLst>
            <pc:docMk/>
            <pc:sldMk cId="3843819818" sldId="336"/>
            <ac:spMk id="33" creationId="{07D46FBE-86FE-4EED-A0FD-030334E471DF}"/>
          </ac:spMkLst>
        </pc:spChg>
        <pc:spChg chg="add">
          <ac:chgData name="Meyer Raphael (PAR-ES)" userId="79615dfe-ed48-4e74-a40f-4f7b034c1c27" providerId="ADAL" clId="{C5BC34D6-6441-48E7-88C4-E6F3F437ED46}" dt="2021-03-11T09:08:46.965" v="74"/>
          <ac:spMkLst>
            <pc:docMk/>
            <pc:sldMk cId="3843819818" sldId="336"/>
            <ac:spMk id="36" creationId="{25F83E61-F8D7-4E5D-8AA0-48E74949AE42}"/>
          </ac:spMkLst>
        </pc:spChg>
        <pc:spChg chg="add">
          <ac:chgData name="Meyer Raphael (PAR-ES)" userId="79615dfe-ed48-4e74-a40f-4f7b034c1c27" providerId="ADAL" clId="{C5BC34D6-6441-48E7-88C4-E6F3F437ED46}" dt="2021-03-11T09:08:46.965" v="74"/>
          <ac:spMkLst>
            <pc:docMk/>
            <pc:sldMk cId="3843819818" sldId="336"/>
            <ac:spMk id="37" creationId="{29B05930-D423-4A96-9053-1B4A25A9F673}"/>
          </ac:spMkLst>
        </pc:spChg>
      </pc:sldChg>
      <pc:sldChg chg="addSp delSp modSp add ord">
        <pc:chgData name="Meyer Raphael (PAR-ES)" userId="79615dfe-ed48-4e74-a40f-4f7b034c1c27" providerId="ADAL" clId="{C5BC34D6-6441-48E7-88C4-E6F3F437ED46}" dt="2021-03-11T09:10:42.319" v="86" actId="14100"/>
        <pc:sldMkLst>
          <pc:docMk/>
          <pc:sldMk cId="912098357" sldId="337"/>
        </pc:sldMkLst>
        <pc:spChg chg="mod">
          <ac:chgData name="Meyer Raphael (PAR-ES)" userId="79615dfe-ed48-4e74-a40f-4f7b034c1c27" providerId="ADAL" clId="{C5BC34D6-6441-48E7-88C4-E6F3F437ED46}" dt="2021-03-11T09:09:38.714" v="79"/>
          <ac:spMkLst>
            <pc:docMk/>
            <pc:sldMk cId="912098357" sldId="337"/>
            <ac:spMk id="2" creationId="{A2DC317F-F1F4-4624-8FC1-3B68C1DBB3DA}"/>
          </ac:spMkLst>
        </pc:spChg>
        <pc:spChg chg="del">
          <ac:chgData name="Meyer Raphael (PAR-ES)" userId="79615dfe-ed48-4e74-a40f-4f7b034c1c27" providerId="ADAL" clId="{C5BC34D6-6441-48E7-88C4-E6F3F437ED46}" dt="2021-03-11T09:09:59.496" v="81" actId="478"/>
          <ac:spMkLst>
            <pc:docMk/>
            <pc:sldMk cId="912098357" sldId="337"/>
            <ac:spMk id="7" creationId="{BA3F9A72-0541-4D1F-8CD8-1C2B8074FA1B}"/>
          </ac:spMkLst>
        </pc:spChg>
        <pc:spChg chg="mod">
          <ac:chgData name="Meyer Raphael (PAR-ES)" userId="79615dfe-ed48-4e74-a40f-4f7b034c1c27" providerId="ADAL" clId="{C5BC34D6-6441-48E7-88C4-E6F3F437ED46}" dt="2021-03-11T09:10:24.546" v="84" actId="14100"/>
          <ac:spMkLst>
            <pc:docMk/>
            <pc:sldMk cId="912098357" sldId="337"/>
            <ac:spMk id="8" creationId="{5857C2A1-2CB8-4D4A-AEFD-E809BF73D04F}"/>
          </ac:spMkLst>
        </pc:spChg>
        <pc:spChg chg="del">
          <ac:chgData name="Meyer Raphael (PAR-ES)" userId="79615dfe-ed48-4e74-a40f-4f7b034c1c27" providerId="ADAL" clId="{C5BC34D6-6441-48E7-88C4-E6F3F437ED46}" dt="2021-03-11T09:09:59.496" v="81" actId="478"/>
          <ac:spMkLst>
            <pc:docMk/>
            <pc:sldMk cId="912098357" sldId="337"/>
            <ac:spMk id="9" creationId="{B6990B61-32B2-4ADC-BF01-EDF7B4080F97}"/>
          </ac:spMkLst>
        </pc:spChg>
        <pc:spChg chg="mod">
          <ac:chgData name="Meyer Raphael (PAR-ES)" userId="79615dfe-ed48-4e74-a40f-4f7b034c1c27" providerId="ADAL" clId="{C5BC34D6-6441-48E7-88C4-E6F3F437ED46}" dt="2021-03-11T09:09:47.961" v="80"/>
          <ac:spMkLst>
            <pc:docMk/>
            <pc:sldMk cId="912098357" sldId="337"/>
            <ac:spMk id="10" creationId="{077DFD58-E5EE-4B68-9325-D935DB04DD40}"/>
          </ac:spMkLst>
        </pc:spChg>
        <pc:spChg chg="del">
          <ac:chgData name="Meyer Raphael (PAR-ES)" userId="79615dfe-ed48-4e74-a40f-4f7b034c1c27" providerId="ADAL" clId="{C5BC34D6-6441-48E7-88C4-E6F3F437ED46}" dt="2021-03-11T09:09:59.496" v="81" actId="478"/>
          <ac:spMkLst>
            <pc:docMk/>
            <pc:sldMk cId="912098357" sldId="337"/>
            <ac:spMk id="17" creationId="{785E740C-F94A-4208-8DFD-63A603C16577}"/>
          </ac:spMkLst>
        </pc:spChg>
        <pc:spChg chg="add">
          <ac:chgData name="Meyer Raphael (PAR-ES)" userId="79615dfe-ed48-4e74-a40f-4f7b034c1c27" providerId="ADAL" clId="{C5BC34D6-6441-48E7-88C4-E6F3F437ED46}" dt="2021-03-11T09:10:14.779" v="82"/>
          <ac:spMkLst>
            <pc:docMk/>
            <pc:sldMk cId="912098357" sldId="337"/>
            <ac:spMk id="23" creationId="{79146EBC-B10D-4A3C-A2BE-96FA496AA801}"/>
          </ac:spMkLst>
        </pc:spChg>
        <pc:spChg chg="del">
          <ac:chgData name="Meyer Raphael (PAR-ES)" userId="79615dfe-ed48-4e74-a40f-4f7b034c1c27" providerId="ADAL" clId="{C5BC34D6-6441-48E7-88C4-E6F3F437ED46}" dt="2021-03-11T09:09:59.496" v="81" actId="478"/>
          <ac:spMkLst>
            <pc:docMk/>
            <pc:sldMk cId="912098357" sldId="337"/>
            <ac:spMk id="26" creationId="{BFD498B5-D73E-4C8A-9FAF-B3547647538C}"/>
          </ac:spMkLst>
        </pc:spChg>
        <pc:spChg chg="mod">
          <ac:chgData name="Meyer Raphael (PAR-ES)" userId="79615dfe-ed48-4e74-a40f-4f7b034c1c27" providerId="ADAL" clId="{C5BC34D6-6441-48E7-88C4-E6F3F437ED46}" dt="2021-03-11T09:10:42.319" v="86" actId="14100"/>
          <ac:spMkLst>
            <pc:docMk/>
            <pc:sldMk cId="912098357" sldId="337"/>
            <ac:spMk id="27" creationId="{46A6B042-39EE-4A58-BBAA-13D52264B660}"/>
          </ac:spMkLst>
        </pc:spChg>
        <pc:spChg chg="add">
          <ac:chgData name="Meyer Raphael (PAR-ES)" userId="79615dfe-ed48-4e74-a40f-4f7b034c1c27" providerId="ADAL" clId="{C5BC34D6-6441-48E7-88C4-E6F3F437ED46}" dt="2021-03-11T09:10:14.779" v="82"/>
          <ac:spMkLst>
            <pc:docMk/>
            <pc:sldMk cId="912098357" sldId="337"/>
            <ac:spMk id="33" creationId="{E1093DAB-58D5-46F0-99AA-CE38E0E3B900}"/>
          </ac:spMkLst>
        </pc:spChg>
        <pc:spChg chg="add">
          <ac:chgData name="Meyer Raphael (PAR-ES)" userId="79615dfe-ed48-4e74-a40f-4f7b034c1c27" providerId="ADAL" clId="{C5BC34D6-6441-48E7-88C4-E6F3F437ED46}" dt="2021-03-11T09:10:14.779" v="82"/>
          <ac:spMkLst>
            <pc:docMk/>
            <pc:sldMk cId="912098357" sldId="337"/>
            <ac:spMk id="36" creationId="{E6805F1F-F0C1-44B5-8AF1-39CDE1E904A8}"/>
          </ac:spMkLst>
        </pc:spChg>
        <pc:spChg chg="add">
          <ac:chgData name="Meyer Raphael (PAR-ES)" userId="79615dfe-ed48-4e74-a40f-4f7b034c1c27" providerId="ADAL" clId="{C5BC34D6-6441-48E7-88C4-E6F3F437ED46}" dt="2021-03-11T09:10:14.779" v="82"/>
          <ac:spMkLst>
            <pc:docMk/>
            <pc:sldMk cId="912098357" sldId="337"/>
            <ac:spMk id="37" creationId="{E3E13AAB-6483-426A-B343-9337AF7B500D}"/>
          </ac:spMkLst>
        </pc:spChg>
      </pc:sldChg>
    </pc:docChg>
  </pc:docChgLst>
  <pc:docChgLst>
    <pc:chgData name="Meyer Raphael (PAR-ES)" userId="79615dfe-ed48-4e74-a40f-4f7b034c1c27" providerId="ADAL" clId="{A954C289-4C82-4190-A523-AF9FCD6AE807}"/>
    <pc:docChg chg="undo custSel modSld">
      <pc:chgData name="Meyer Raphael (PAR-ES)" userId="79615dfe-ed48-4e74-a40f-4f7b034c1c27" providerId="ADAL" clId="{A954C289-4C82-4190-A523-AF9FCD6AE807}" dt="2021-06-15T09:09:22.928" v="421" actId="1036"/>
      <pc:docMkLst>
        <pc:docMk/>
      </pc:docMkLst>
      <pc:sldChg chg="addSp delSp modSp mod">
        <pc:chgData name="Meyer Raphael (PAR-ES)" userId="79615dfe-ed48-4e74-a40f-4f7b034c1c27" providerId="ADAL" clId="{A954C289-4C82-4190-A523-AF9FCD6AE807}" dt="2021-06-15T09:09:22.928" v="421" actId="1036"/>
        <pc:sldMkLst>
          <pc:docMk/>
          <pc:sldMk cId="1495152177" sldId="298"/>
        </pc:sldMkLst>
        <pc:spChg chg="mod">
          <ac:chgData name="Meyer Raphael (PAR-ES)" userId="79615dfe-ed48-4e74-a40f-4f7b034c1c27" providerId="ADAL" clId="{A954C289-4C82-4190-A523-AF9FCD6AE807}" dt="2021-06-15T08:17:57.107" v="235" actId="27636"/>
          <ac:spMkLst>
            <pc:docMk/>
            <pc:sldMk cId="1495152177" sldId="298"/>
            <ac:spMk id="6" creationId="{0EEE4EA3-E16E-424B-97F9-53A8F5D585AE}"/>
          </ac:spMkLst>
        </pc:spChg>
        <pc:spChg chg="mod">
          <ac:chgData name="Meyer Raphael (PAR-ES)" userId="79615dfe-ed48-4e74-a40f-4f7b034c1c27" providerId="ADAL" clId="{A954C289-4C82-4190-A523-AF9FCD6AE807}" dt="2021-06-15T08:17:57.107" v="235" actId="27636"/>
          <ac:spMkLst>
            <pc:docMk/>
            <pc:sldMk cId="1495152177" sldId="298"/>
            <ac:spMk id="7" creationId="{51421822-C303-4FC2-BF5E-F4377E568635}"/>
          </ac:spMkLst>
        </pc:spChg>
        <pc:spChg chg="mod">
          <ac:chgData name="Meyer Raphael (PAR-ES)" userId="79615dfe-ed48-4e74-a40f-4f7b034c1c27" providerId="ADAL" clId="{A954C289-4C82-4190-A523-AF9FCD6AE807}" dt="2021-06-15T09:09:08.393" v="413" actId="1036"/>
          <ac:spMkLst>
            <pc:docMk/>
            <pc:sldMk cId="1495152177" sldId="298"/>
            <ac:spMk id="12" creationId="{970D2C07-63A2-4265-B006-56F685FE80A5}"/>
          </ac:spMkLst>
        </pc:spChg>
        <pc:spChg chg="mod">
          <ac:chgData name="Meyer Raphael (PAR-ES)" userId="79615dfe-ed48-4e74-a40f-4f7b034c1c27" providerId="ADAL" clId="{A954C289-4C82-4190-A523-AF9FCD6AE807}" dt="2021-06-15T09:09:08.393" v="413" actId="1036"/>
          <ac:spMkLst>
            <pc:docMk/>
            <pc:sldMk cId="1495152177" sldId="298"/>
            <ac:spMk id="13" creationId="{93412675-62AA-41D8-997C-4E877ED953A8}"/>
          </ac:spMkLst>
        </pc:spChg>
        <pc:graphicFrameChg chg="add del">
          <ac:chgData name="Meyer Raphael (PAR-ES)" userId="79615dfe-ed48-4e74-a40f-4f7b034c1c27" providerId="ADAL" clId="{A954C289-4C82-4190-A523-AF9FCD6AE807}" dt="2021-06-15T07:56:03.797" v="1" actId="478"/>
          <ac:graphicFrameMkLst>
            <pc:docMk/>
            <pc:sldMk cId="1495152177" sldId="298"/>
            <ac:graphicFrameMk id="4" creationId="{F3F921C0-1413-4CAF-B645-3BA5801C8853}"/>
          </ac:graphicFrameMkLst>
        </pc:graphicFrameChg>
        <pc:graphicFrameChg chg="mod">
          <ac:chgData name="Meyer Raphael (PAR-ES)" userId="79615dfe-ed48-4e74-a40f-4f7b034c1c27" providerId="ADAL" clId="{A954C289-4C82-4190-A523-AF9FCD6AE807}" dt="2021-06-15T08:18:06.090" v="237" actId="1035"/>
          <ac:graphicFrameMkLst>
            <pc:docMk/>
            <pc:sldMk cId="1495152177" sldId="298"/>
            <ac:graphicFrameMk id="5" creationId="{4CF6AB8B-CAB9-4C7E-8E59-E00357A4D7F0}"/>
          </ac:graphicFrameMkLst>
        </pc:graphicFrameChg>
        <pc:graphicFrameChg chg="add mod modGraphic">
          <ac:chgData name="Meyer Raphael (PAR-ES)" userId="79615dfe-ed48-4e74-a40f-4f7b034c1c27" providerId="ADAL" clId="{A954C289-4C82-4190-A523-AF9FCD6AE807}" dt="2021-06-15T09:08:11.892" v="349" actId="14100"/>
          <ac:graphicFrameMkLst>
            <pc:docMk/>
            <pc:sldMk cId="1495152177" sldId="298"/>
            <ac:graphicFrameMk id="9" creationId="{E1369C63-C4A7-403B-A03F-B004599F910A}"/>
          </ac:graphicFrameMkLst>
        </pc:graphicFrameChg>
        <pc:cxnChg chg="mod">
          <ac:chgData name="Meyer Raphael (PAR-ES)" userId="79615dfe-ed48-4e74-a40f-4f7b034c1c27" providerId="ADAL" clId="{A954C289-4C82-4190-A523-AF9FCD6AE807}" dt="2021-06-15T09:09:22.928" v="421" actId="1036"/>
          <ac:cxnSpMkLst>
            <pc:docMk/>
            <pc:sldMk cId="1495152177" sldId="298"/>
            <ac:cxnSpMk id="8" creationId="{6F3EB9D3-E612-42D9-859B-1905BD876C26}"/>
          </ac:cxnSpMkLst>
        </pc:cxnChg>
        <pc:cxnChg chg="add del mod ord">
          <ac:chgData name="Meyer Raphael (PAR-ES)" userId="79615dfe-ed48-4e74-a40f-4f7b034c1c27" providerId="ADAL" clId="{A954C289-4C82-4190-A523-AF9FCD6AE807}" dt="2021-06-15T08:17:13.922" v="230" actId="478"/>
          <ac:cxnSpMkLst>
            <pc:docMk/>
            <pc:sldMk cId="1495152177" sldId="298"/>
            <ac:cxnSpMk id="14" creationId="{D23AE8E3-B72E-4135-842E-A3E6577A69D4}"/>
          </ac:cxnSpMkLst>
        </pc:cxnChg>
      </pc:sldChg>
    </pc:docChg>
  </pc:docChgLst>
  <pc:docChgLst>
    <pc:chgData name="Meyer Raphael (PAR-ES)" userId="79615dfe-ed48-4e74-a40f-4f7b034c1c27" providerId="ADAL" clId="{075BCFC8-B02B-4DC4-A4AE-CC9F64D1F990}"/>
    <pc:docChg chg="custSel addSld delSld modSld">
      <pc:chgData name="Meyer Raphael (PAR-ES)" userId="79615dfe-ed48-4e74-a40f-4f7b034c1c27" providerId="ADAL" clId="{075BCFC8-B02B-4DC4-A4AE-CC9F64D1F990}" dt="2022-03-09T15:42:32.028" v="46" actId="27918"/>
      <pc:docMkLst>
        <pc:docMk/>
      </pc:docMkLst>
      <pc:sldChg chg="del">
        <pc:chgData name="Meyer Raphael (PAR-ES)" userId="79615dfe-ed48-4e74-a40f-4f7b034c1c27" providerId="ADAL" clId="{075BCFC8-B02B-4DC4-A4AE-CC9F64D1F990}" dt="2022-03-09T15:36:05.484" v="0" actId="47"/>
        <pc:sldMkLst>
          <pc:docMk/>
          <pc:sldMk cId="3064315074" sldId="413"/>
        </pc:sldMkLst>
      </pc:sldChg>
      <pc:sldChg chg="modSp">
        <pc:chgData name="Meyer Raphael (PAR-ES)" userId="79615dfe-ed48-4e74-a40f-4f7b034c1c27" providerId="ADAL" clId="{075BCFC8-B02B-4DC4-A4AE-CC9F64D1F990}" dt="2022-03-09T15:40:36.470" v="29"/>
        <pc:sldMkLst>
          <pc:docMk/>
          <pc:sldMk cId="1774855510" sldId="414"/>
        </pc:sldMkLst>
        <pc:graphicFrameChg chg="mod">
          <ac:chgData name="Meyer Raphael (PAR-ES)" userId="79615dfe-ed48-4e74-a40f-4f7b034c1c27" providerId="ADAL" clId="{075BCFC8-B02B-4DC4-A4AE-CC9F64D1F990}" dt="2022-03-09T15:40:36.470" v="29"/>
          <ac:graphicFrameMkLst>
            <pc:docMk/>
            <pc:sldMk cId="1774855510" sldId="414"/>
            <ac:graphicFrameMk id="9" creationId="{00000000-0000-0000-0000-000000000000}"/>
          </ac:graphicFrameMkLst>
        </pc:graphicFrameChg>
      </pc:sldChg>
      <pc:sldChg chg="modSp add mod">
        <pc:chgData name="Meyer Raphael (PAR-ES)" userId="79615dfe-ed48-4e74-a40f-4f7b034c1c27" providerId="ADAL" clId="{075BCFC8-B02B-4DC4-A4AE-CC9F64D1F990}" dt="2022-03-09T15:40:23.320" v="28"/>
        <pc:sldMkLst>
          <pc:docMk/>
          <pc:sldMk cId="2844382326" sldId="415"/>
        </pc:sldMkLst>
        <pc:spChg chg="mod">
          <ac:chgData name="Meyer Raphael (PAR-ES)" userId="79615dfe-ed48-4e74-a40f-4f7b034c1c27" providerId="ADAL" clId="{075BCFC8-B02B-4DC4-A4AE-CC9F64D1F990}" dt="2022-03-09T15:37:11.935" v="4"/>
          <ac:spMkLst>
            <pc:docMk/>
            <pc:sldMk cId="2844382326" sldId="415"/>
            <ac:spMk id="2" creationId="{00000000-0000-0000-0000-000000000000}"/>
          </ac:spMkLst>
        </pc:spChg>
        <pc:spChg chg="mod">
          <ac:chgData name="Meyer Raphael (PAR-ES)" userId="79615dfe-ed48-4e74-a40f-4f7b034c1c27" providerId="ADAL" clId="{075BCFC8-B02B-4DC4-A4AE-CC9F64D1F990}" dt="2022-03-09T15:37:23.197" v="6" actId="20577"/>
          <ac:spMkLst>
            <pc:docMk/>
            <pc:sldMk cId="2844382326" sldId="415"/>
            <ac:spMk id="6" creationId="{1F31F2D2-504B-4B14-95D4-0B8BCA2C6299}"/>
          </ac:spMkLst>
        </pc:spChg>
        <pc:graphicFrameChg chg="mod">
          <ac:chgData name="Meyer Raphael (PAR-ES)" userId="79615dfe-ed48-4e74-a40f-4f7b034c1c27" providerId="ADAL" clId="{075BCFC8-B02B-4DC4-A4AE-CC9F64D1F990}" dt="2022-03-09T15:40:23.320" v="28"/>
          <ac:graphicFrameMkLst>
            <pc:docMk/>
            <pc:sldMk cId="2844382326" sldId="415"/>
            <ac:graphicFrameMk id="9" creationId="{00000000-0000-0000-0000-000000000000}"/>
          </ac:graphicFrameMkLst>
        </pc:graphicFrameChg>
      </pc:sldChg>
      <pc:sldChg chg="modSp add mod">
        <pc:chgData name="Meyer Raphael (PAR-ES)" userId="79615dfe-ed48-4e74-a40f-4f7b034c1c27" providerId="ADAL" clId="{075BCFC8-B02B-4DC4-A4AE-CC9F64D1F990}" dt="2022-03-09T15:40:13.240" v="26"/>
        <pc:sldMkLst>
          <pc:docMk/>
          <pc:sldMk cId="2251798312" sldId="416"/>
        </pc:sldMkLst>
        <pc:spChg chg="mod">
          <ac:chgData name="Meyer Raphael (PAR-ES)" userId="79615dfe-ed48-4e74-a40f-4f7b034c1c27" providerId="ADAL" clId="{075BCFC8-B02B-4DC4-A4AE-CC9F64D1F990}" dt="2022-03-09T15:39:03.475" v="12"/>
          <ac:spMkLst>
            <pc:docMk/>
            <pc:sldMk cId="2251798312" sldId="416"/>
            <ac:spMk id="2" creationId="{00000000-0000-0000-0000-000000000000}"/>
          </ac:spMkLst>
        </pc:spChg>
        <pc:spChg chg="mod">
          <ac:chgData name="Meyer Raphael (PAR-ES)" userId="79615dfe-ed48-4e74-a40f-4f7b034c1c27" providerId="ADAL" clId="{075BCFC8-B02B-4DC4-A4AE-CC9F64D1F990}" dt="2022-03-09T15:39:15.755" v="14" actId="20577"/>
          <ac:spMkLst>
            <pc:docMk/>
            <pc:sldMk cId="2251798312" sldId="416"/>
            <ac:spMk id="6" creationId="{1F31F2D2-504B-4B14-95D4-0B8BCA2C6299}"/>
          </ac:spMkLst>
        </pc:spChg>
        <pc:spChg chg="mod">
          <ac:chgData name="Meyer Raphael (PAR-ES)" userId="79615dfe-ed48-4e74-a40f-4f7b034c1c27" providerId="ADAL" clId="{075BCFC8-B02B-4DC4-A4AE-CC9F64D1F990}" dt="2022-03-09T15:39:29.391" v="20" actId="20577"/>
          <ac:spMkLst>
            <pc:docMk/>
            <pc:sldMk cId="2251798312" sldId="416"/>
            <ac:spMk id="7" creationId="{997E4419-A7A8-4264-97B0-3A44B665821E}"/>
          </ac:spMkLst>
        </pc:spChg>
        <pc:graphicFrameChg chg="mod">
          <ac:chgData name="Meyer Raphael (PAR-ES)" userId="79615dfe-ed48-4e74-a40f-4f7b034c1c27" providerId="ADAL" clId="{075BCFC8-B02B-4DC4-A4AE-CC9F64D1F990}" dt="2022-03-09T15:40:13.240" v="26"/>
          <ac:graphicFrameMkLst>
            <pc:docMk/>
            <pc:sldMk cId="2251798312" sldId="416"/>
            <ac:graphicFrameMk id="9" creationId="{00000000-0000-0000-0000-000000000000}"/>
          </ac:graphicFrameMkLst>
        </pc:graphicFrameChg>
      </pc:sldChg>
      <pc:sldChg chg="modSp add mod">
        <pc:chgData name="Meyer Raphael (PAR-ES)" userId="79615dfe-ed48-4e74-a40f-4f7b034c1c27" providerId="ADAL" clId="{075BCFC8-B02B-4DC4-A4AE-CC9F64D1F990}" dt="2022-03-09T15:42:32.028" v="46" actId="27918"/>
        <pc:sldMkLst>
          <pc:docMk/>
          <pc:sldMk cId="1913231849" sldId="417"/>
        </pc:sldMkLst>
        <pc:spChg chg="mod">
          <ac:chgData name="Meyer Raphael (PAR-ES)" userId="79615dfe-ed48-4e74-a40f-4f7b034c1c27" providerId="ADAL" clId="{075BCFC8-B02B-4DC4-A4AE-CC9F64D1F990}" dt="2022-03-09T15:41:32.284" v="31"/>
          <ac:spMkLst>
            <pc:docMk/>
            <pc:sldMk cId="1913231849" sldId="417"/>
            <ac:spMk id="2" creationId="{00000000-0000-0000-0000-000000000000}"/>
          </ac:spMkLst>
        </pc:spChg>
        <pc:spChg chg="mod">
          <ac:chgData name="Meyer Raphael (PAR-ES)" userId="79615dfe-ed48-4e74-a40f-4f7b034c1c27" providerId="ADAL" clId="{075BCFC8-B02B-4DC4-A4AE-CC9F64D1F990}" dt="2022-03-09T15:41:53.137" v="33" actId="20577"/>
          <ac:spMkLst>
            <pc:docMk/>
            <pc:sldMk cId="1913231849" sldId="417"/>
            <ac:spMk id="6" creationId="{1F31F2D2-504B-4B14-95D4-0B8BCA2C6299}"/>
          </ac:spMkLst>
        </pc:spChg>
        <pc:spChg chg="mod">
          <ac:chgData name="Meyer Raphael (PAR-ES)" userId="79615dfe-ed48-4e74-a40f-4f7b034c1c27" providerId="ADAL" clId="{075BCFC8-B02B-4DC4-A4AE-CC9F64D1F990}" dt="2022-03-09T15:41:58.782" v="41" actId="20577"/>
          <ac:spMkLst>
            <pc:docMk/>
            <pc:sldMk cId="1913231849" sldId="417"/>
            <ac:spMk id="7" creationId="{997E4419-A7A8-4264-97B0-3A44B665821E}"/>
          </ac:spMkLst>
        </pc:spChg>
        <pc:graphicFrameChg chg="mod">
          <ac:chgData name="Meyer Raphael (PAR-ES)" userId="79615dfe-ed48-4e74-a40f-4f7b034c1c27" providerId="ADAL" clId="{075BCFC8-B02B-4DC4-A4AE-CC9F64D1F990}" dt="2022-03-09T15:40:46.551" v="30"/>
          <ac:graphicFrameMkLst>
            <pc:docMk/>
            <pc:sldMk cId="1913231849" sldId="417"/>
            <ac:graphicFrameMk id="9" creationId="{00000000-0000-0000-0000-000000000000}"/>
          </ac:graphicFrameMkLst>
        </pc:graphicFrameChg>
      </pc:sldChg>
    </pc:docChg>
  </pc:docChgLst>
  <pc:docChgLst>
    <pc:chgData name="Meyer Raphael (KOM-PGA-VSF)" userId="79615dfe-ed48-4e74-a40f-4f7b034c1c27" providerId="ADAL" clId="{96D77013-12DF-4911-886E-DED6CCA30677}"/>
    <pc:docChg chg="undo redo custSel addSld delSld modSld sldOrd modMainMaster">
      <pc:chgData name="Meyer Raphael (KOM-PGA-VSF)" userId="79615dfe-ed48-4e74-a40f-4f7b034c1c27" providerId="ADAL" clId="{96D77013-12DF-4911-886E-DED6CCA30677}" dt="2020-12-16T10:38:55.297" v="4018" actId="2696"/>
      <pc:docMkLst>
        <pc:docMk/>
      </pc:docMkLst>
      <pc:sldChg chg="del">
        <pc:chgData name="Meyer Raphael (KOM-PGA-VSF)" userId="79615dfe-ed48-4e74-a40f-4f7b034c1c27" providerId="ADAL" clId="{96D77013-12DF-4911-886E-DED6CCA30677}" dt="2020-10-30T14:16:22.334" v="226" actId="2696"/>
        <pc:sldMkLst>
          <pc:docMk/>
          <pc:sldMk cId="1624757107" sldId="293"/>
        </pc:sldMkLst>
      </pc:sldChg>
      <pc:sldChg chg="addSp delSp modSp add del">
        <pc:chgData name="Meyer Raphael (KOM-PGA-VSF)" userId="79615dfe-ed48-4e74-a40f-4f7b034c1c27" providerId="ADAL" clId="{96D77013-12DF-4911-886E-DED6CCA30677}" dt="2020-10-30T14:16:25.156" v="227" actId="2696"/>
        <pc:sldMkLst>
          <pc:docMk/>
          <pc:sldMk cId="278967075" sldId="294"/>
        </pc:sldMkLst>
        <pc:spChg chg="add del">
          <ac:chgData name="Meyer Raphael (KOM-PGA-VSF)" userId="79615dfe-ed48-4e74-a40f-4f7b034c1c27" providerId="ADAL" clId="{96D77013-12DF-4911-886E-DED6CCA30677}" dt="2020-09-30T11:38:46.785" v="19"/>
          <ac:spMkLst>
            <pc:docMk/>
            <pc:sldMk cId="278967075" sldId="294"/>
            <ac:spMk id="11" creationId="{8815ABAA-94D8-47C4-B644-FDF9F27DE999}"/>
          </ac:spMkLst>
        </pc:spChg>
        <pc:spChg chg="mod">
          <ac:chgData name="Meyer Raphael (KOM-PGA-VSF)" userId="79615dfe-ed48-4e74-a40f-4f7b034c1c27" providerId="ADAL" clId="{96D77013-12DF-4911-886E-DED6CCA30677}" dt="2020-09-30T11:38:13.845" v="11" actId="1076"/>
          <ac:spMkLst>
            <pc:docMk/>
            <pc:sldMk cId="278967075" sldId="294"/>
            <ac:spMk id="17" creationId="{B5E6478D-2E3B-4859-9876-DD849397A82E}"/>
          </ac:spMkLst>
        </pc:spChg>
        <pc:graphicFrameChg chg="mod">
          <ac:chgData name="Meyer Raphael (KOM-PGA-VSF)" userId="79615dfe-ed48-4e74-a40f-4f7b034c1c27" providerId="ADAL" clId="{96D77013-12DF-4911-886E-DED6CCA30677}" dt="2020-09-30T11:21:51.226" v="4" actId="2085"/>
          <ac:graphicFrameMkLst>
            <pc:docMk/>
            <pc:sldMk cId="278967075" sldId="294"/>
            <ac:graphicFrameMk id="18" creationId="{9C553D07-24F5-41AC-9FDF-CB98346595E5}"/>
          </ac:graphicFrameMkLst>
        </pc:graphicFrameChg>
        <pc:graphicFrameChg chg="mod">
          <ac:chgData name="Meyer Raphael (KOM-PGA-VSF)" userId="79615dfe-ed48-4e74-a40f-4f7b034c1c27" providerId="ADAL" clId="{96D77013-12DF-4911-886E-DED6CCA30677}" dt="2020-09-30T11:22:19.476" v="7" actId="2085"/>
          <ac:graphicFrameMkLst>
            <pc:docMk/>
            <pc:sldMk cId="278967075" sldId="294"/>
            <ac:graphicFrameMk id="19" creationId="{13003C14-5693-4BC8-B311-D58088B76A20}"/>
          </ac:graphicFrameMkLst>
        </pc:graphicFrameChg>
      </pc:sldChg>
      <pc:sldChg chg="addSp delSp modSp add mod ord modTransition">
        <pc:chgData name="Meyer Raphael (KOM-PGA-VSF)" userId="79615dfe-ed48-4e74-a40f-4f7b034c1c27" providerId="ADAL" clId="{96D77013-12DF-4911-886E-DED6CCA30677}" dt="2020-11-18T15:19:55.161" v="3194"/>
        <pc:sldMkLst>
          <pc:docMk/>
          <pc:sldMk cId="342226240" sldId="295"/>
        </pc:sldMkLst>
        <pc:spChg chg="mod">
          <ac:chgData name="Meyer Raphael (KOM-PGA-VSF)" userId="79615dfe-ed48-4e74-a40f-4f7b034c1c27" providerId="ADAL" clId="{96D77013-12DF-4911-886E-DED6CCA30677}" dt="2020-11-18T09:30:54.597" v="2558"/>
          <ac:spMkLst>
            <pc:docMk/>
            <pc:sldMk cId="342226240" sldId="295"/>
            <ac:spMk id="2" creationId="{A2DC317F-F1F4-4624-8FC1-3B68C1DBB3DA}"/>
          </ac:spMkLst>
        </pc:spChg>
        <pc:spChg chg="del">
          <ac:chgData name="Meyer Raphael (KOM-PGA-VSF)" userId="79615dfe-ed48-4e74-a40f-4f7b034c1c27" providerId="ADAL" clId="{96D77013-12DF-4911-886E-DED6CCA30677}" dt="2020-09-30T11:41:30.947" v="63" actId="478"/>
          <ac:spMkLst>
            <pc:docMk/>
            <pc:sldMk cId="342226240" sldId="295"/>
            <ac:spMk id="4" creationId="{E364C23F-272E-4E37-9AAA-54A8205ED9AF}"/>
          </ac:spMkLst>
        </pc:spChg>
        <pc:spChg chg="add mod">
          <ac:chgData name="Meyer Raphael (KOM-PGA-VSF)" userId="79615dfe-ed48-4e74-a40f-4f7b034c1c27" providerId="ADAL" clId="{96D77013-12DF-4911-886E-DED6CCA30677}" dt="2020-09-30T11:41:11.200" v="60" actId="1076"/>
          <ac:spMkLst>
            <pc:docMk/>
            <pc:sldMk cId="342226240" sldId="295"/>
            <ac:spMk id="7" creationId="{BA3F9A72-0541-4D1F-8CD8-1C2B8074FA1B}"/>
          </ac:spMkLst>
        </pc:spChg>
        <pc:spChg chg="add mod">
          <ac:chgData name="Meyer Raphael (KOM-PGA-VSF)" userId="79615dfe-ed48-4e74-a40f-4f7b034c1c27" providerId="ADAL" clId="{96D77013-12DF-4911-886E-DED6CCA30677}" dt="2020-11-13T12:59:35.120" v="851" actId="20577"/>
          <ac:spMkLst>
            <pc:docMk/>
            <pc:sldMk cId="342226240" sldId="295"/>
            <ac:spMk id="8" creationId="{B6DF2E20-66B6-43FF-BD5C-488FAFC28EE4}"/>
          </ac:spMkLst>
        </pc:spChg>
        <pc:spChg chg="add mod">
          <ac:chgData name="Meyer Raphael (KOM-PGA-VSF)" userId="79615dfe-ed48-4e74-a40f-4f7b034c1c27" providerId="ADAL" clId="{96D77013-12DF-4911-886E-DED6CCA30677}" dt="2020-10-07T11:44:49.019" v="93" actId="1076"/>
          <ac:spMkLst>
            <pc:docMk/>
            <pc:sldMk cId="342226240" sldId="295"/>
            <ac:spMk id="9" creationId="{B6990B61-32B2-4ADC-BF01-EDF7B4080F97}"/>
          </ac:spMkLst>
        </pc:spChg>
        <pc:spChg chg="add mod">
          <ac:chgData name="Meyer Raphael (KOM-PGA-VSF)" userId="79615dfe-ed48-4e74-a40f-4f7b034c1c27" providerId="ADAL" clId="{96D77013-12DF-4911-886E-DED6CCA30677}" dt="2020-11-18T09:31:10.795" v="2561"/>
          <ac:spMkLst>
            <pc:docMk/>
            <pc:sldMk cId="342226240" sldId="295"/>
            <ac:spMk id="10" creationId="{077DFD58-E5EE-4B68-9325-D935DB04DD40}"/>
          </ac:spMkLst>
        </pc:spChg>
        <pc:graphicFrameChg chg="add mod">
          <ac:chgData name="Meyer Raphael (KOM-PGA-VSF)" userId="79615dfe-ed48-4e74-a40f-4f7b034c1c27" providerId="ADAL" clId="{96D77013-12DF-4911-886E-DED6CCA30677}" dt="2020-09-30T11:42:33.301" v="68" actId="1076"/>
          <ac:graphicFrameMkLst>
            <pc:docMk/>
            <pc:sldMk cId="342226240" sldId="295"/>
            <ac:graphicFrameMk id="5" creationId="{4CF6AB8B-CAB9-4C7E-8E59-E00357A4D7F0}"/>
          </ac:graphicFrameMkLst>
        </pc:graphicFrameChg>
        <pc:graphicFrameChg chg="add mod">
          <ac:chgData name="Meyer Raphael (KOM-PGA-VSF)" userId="79615dfe-ed48-4e74-a40f-4f7b034c1c27" providerId="ADAL" clId="{96D77013-12DF-4911-886E-DED6CCA30677}" dt="2020-09-30T11:42:43.651" v="69" actId="1076"/>
          <ac:graphicFrameMkLst>
            <pc:docMk/>
            <pc:sldMk cId="342226240" sldId="295"/>
            <ac:graphicFrameMk id="6" creationId="{60571ECF-B349-4A7D-BB52-C93BE55CD5F3}"/>
          </ac:graphicFrameMkLst>
        </pc:graphicFrameChg>
      </pc:sldChg>
      <pc:sldChg chg="addSp delSp modSp add mod ord modTransition">
        <pc:chgData name="Meyer Raphael (KOM-PGA-VSF)" userId="79615dfe-ed48-4e74-a40f-4f7b034c1c27" providerId="ADAL" clId="{96D77013-12DF-4911-886E-DED6CCA30677}" dt="2020-11-25T13:49:29.843" v="3323"/>
        <pc:sldMkLst>
          <pc:docMk/>
          <pc:sldMk cId="1492035608" sldId="296"/>
        </pc:sldMkLst>
        <pc:spChg chg="mod">
          <ac:chgData name="Meyer Raphael (KOM-PGA-VSF)" userId="79615dfe-ed48-4e74-a40f-4f7b034c1c27" providerId="ADAL" clId="{96D77013-12DF-4911-886E-DED6CCA30677}" dt="2020-11-18T15:23:11.379" v="3209"/>
          <ac:spMkLst>
            <pc:docMk/>
            <pc:sldMk cId="1492035608" sldId="296"/>
            <ac:spMk id="2" creationId="{4294D798-D9CC-4779-9F40-A41AB7676D80}"/>
          </ac:spMkLst>
        </pc:spChg>
        <pc:spChg chg="del">
          <ac:chgData name="Meyer Raphael (KOM-PGA-VSF)" userId="79615dfe-ed48-4e74-a40f-4f7b034c1c27" providerId="ADAL" clId="{96D77013-12DF-4911-886E-DED6CCA30677}" dt="2020-10-27T10:45:40.203" v="143" actId="478"/>
          <ac:spMkLst>
            <pc:docMk/>
            <pc:sldMk cId="1492035608" sldId="296"/>
            <ac:spMk id="4" creationId="{9A10E6FE-137B-4D58-923B-9E162BCCF342}"/>
          </ac:spMkLst>
        </pc:spChg>
        <pc:spChg chg="add del">
          <ac:chgData name="Meyer Raphael (KOM-PGA-VSF)" userId="79615dfe-ed48-4e74-a40f-4f7b034c1c27" providerId="ADAL" clId="{96D77013-12DF-4911-886E-DED6CCA30677}" dt="2020-10-27T10:52:15.686" v="170" actId="478"/>
          <ac:spMkLst>
            <pc:docMk/>
            <pc:sldMk cId="1492035608" sldId="296"/>
            <ac:spMk id="6" creationId="{370F36C1-7EAD-44EF-A453-7008D2EBD880}"/>
          </ac:spMkLst>
        </pc:spChg>
        <pc:spChg chg="add mod">
          <ac:chgData name="Meyer Raphael (KOM-PGA-VSF)" userId="79615dfe-ed48-4e74-a40f-4f7b034c1c27" providerId="ADAL" clId="{96D77013-12DF-4911-886E-DED6CCA30677}" dt="2020-11-18T15:23:21.215" v="3210"/>
          <ac:spMkLst>
            <pc:docMk/>
            <pc:sldMk cId="1492035608" sldId="296"/>
            <ac:spMk id="7" creationId="{7341AB6C-5169-46A0-9238-C1EBE413EB13}"/>
          </ac:spMkLst>
        </pc:spChg>
        <pc:graphicFrameChg chg="add mod">
          <ac:chgData name="Meyer Raphael (KOM-PGA-VSF)" userId="79615dfe-ed48-4e74-a40f-4f7b034c1c27" providerId="ADAL" clId="{96D77013-12DF-4911-886E-DED6CCA30677}" dt="2020-11-18T15:22:52.987" v="3208"/>
          <ac:graphicFrameMkLst>
            <pc:docMk/>
            <pc:sldMk cId="1492035608" sldId="296"/>
            <ac:graphicFrameMk id="5" creationId="{4C4E0179-01FC-4095-AD01-5923672B37F7}"/>
          </ac:graphicFrameMkLst>
        </pc:graphicFrameChg>
      </pc:sldChg>
      <pc:sldChg chg="addSp delSp modSp add mod ord modTransition setBg">
        <pc:chgData name="Meyer Raphael (KOM-PGA-VSF)" userId="79615dfe-ed48-4e74-a40f-4f7b034c1c27" providerId="ADAL" clId="{96D77013-12DF-4911-886E-DED6CCA30677}" dt="2020-11-17T12:47:34.265" v="1369" actId="27918"/>
        <pc:sldMkLst>
          <pc:docMk/>
          <pc:sldMk cId="1670059232" sldId="297"/>
        </pc:sldMkLst>
        <pc:spChg chg="mod">
          <ac:chgData name="Meyer Raphael (KOM-PGA-VSF)" userId="79615dfe-ed48-4e74-a40f-4f7b034c1c27" providerId="ADAL" clId="{96D77013-12DF-4911-886E-DED6CCA30677}" dt="2020-11-17T10:38:28.544" v="1169" actId="20577"/>
          <ac:spMkLst>
            <pc:docMk/>
            <pc:sldMk cId="1670059232" sldId="297"/>
            <ac:spMk id="2" creationId="{A2DC317F-F1F4-4624-8FC1-3B68C1DBB3DA}"/>
          </ac:spMkLst>
        </pc:spChg>
        <pc:spChg chg="mod">
          <ac:chgData name="Meyer Raphael (KOM-PGA-VSF)" userId="79615dfe-ed48-4e74-a40f-4f7b034c1c27" providerId="ADAL" clId="{96D77013-12DF-4911-886E-DED6CCA30677}" dt="2020-11-17T08:38:22.882" v="1025" actId="1076"/>
          <ac:spMkLst>
            <pc:docMk/>
            <pc:sldMk cId="1670059232" sldId="297"/>
            <ac:spMk id="7" creationId="{BA3F9A72-0541-4D1F-8CD8-1C2B8074FA1B}"/>
          </ac:spMkLst>
        </pc:spChg>
        <pc:spChg chg="del">
          <ac:chgData name="Meyer Raphael (KOM-PGA-VSF)" userId="79615dfe-ed48-4e74-a40f-4f7b034c1c27" providerId="ADAL" clId="{96D77013-12DF-4911-886E-DED6CCA30677}" dt="2020-11-17T07:48:28.018" v="949" actId="478"/>
          <ac:spMkLst>
            <pc:docMk/>
            <pc:sldMk cId="1670059232" sldId="297"/>
            <ac:spMk id="8" creationId="{B6DF2E20-66B6-43FF-BD5C-488FAFC28EE4}"/>
          </ac:spMkLst>
        </pc:spChg>
        <pc:spChg chg="mod">
          <ac:chgData name="Meyer Raphael (KOM-PGA-VSF)" userId="79615dfe-ed48-4e74-a40f-4f7b034c1c27" providerId="ADAL" clId="{96D77013-12DF-4911-886E-DED6CCA30677}" dt="2020-11-17T10:25:45.756" v="1148" actId="1076"/>
          <ac:spMkLst>
            <pc:docMk/>
            <pc:sldMk cId="1670059232" sldId="297"/>
            <ac:spMk id="9" creationId="{B6990B61-32B2-4ADC-BF01-EDF7B4080F97}"/>
          </ac:spMkLst>
        </pc:spChg>
        <pc:spChg chg="add del mod">
          <ac:chgData name="Meyer Raphael (KOM-PGA-VSF)" userId="79615dfe-ed48-4e74-a40f-4f7b034c1c27" providerId="ADAL" clId="{96D77013-12DF-4911-886E-DED6CCA30677}" dt="2020-11-17T12:26:57.973" v="1241"/>
          <ac:spMkLst>
            <pc:docMk/>
            <pc:sldMk cId="1670059232" sldId="297"/>
            <ac:spMk id="12" creationId="{52294493-C20C-4A63-9105-043CA5A1DA10}"/>
          </ac:spMkLst>
        </pc:spChg>
        <pc:spChg chg="add mod">
          <ac:chgData name="Meyer Raphael (KOM-PGA-VSF)" userId="79615dfe-ed48-4e74-a40f-4f7b034c1c27" providerId="ADAL" clId="{96D77013-12DF-4911-886E-DED6CCA30677}" dt="2020-11-17T12:27:52.647" v="1260" actId="20577"/>
          <ac:spMkLst>
            <pc:docMk/>
            <pc:sldMk cId="1670059232" sldId="297"/>
            <ac:spMk id="13" creationId="{5F25AD10-BAC9-4E8D-A3B3-3F3B37120D18}"/>
          </ac:spMkLst>
        </pc:spChg>
        <pc:spChg chg="add mod">
          <ac:chgData name="Meyer Raphael (KOM-PGA-VSF)" userId="79615dfe-ed48-4e74-a40f-4f7b034c1c27" providerId="ADAL" clId="{96D77013-12DF-4911-886E-DED6CCA30677}" dt="2020-11-17T12:36:01.977" v="1325" actId="1076"/>
          <ac:spMkLst>
            <pc:docMk/>
            <pc:sldMk cId="1670059232" sldId="297"/>
            <ac:spMk id="15" creationId="{BF705243-783E-4A9E-B41E-B5E5E3EC1E51}"/>
          </ac:spMkLst>
        </pc:spChg>
        <pc:spChg chg="add del mod">
          <ac:chgData name="Meyer Raphael (KOM-PGA-VSF)" userId="79615dfe-ed48-4e74-a40f-4f7b034c1c27" providerId="ADAL" clId="{96D77013-12DF-4911-886E-DED6CCA30677}" dt="2020-11-17T12:31:34.416" v="1310" actId="478"/>
          <ac:spMkLst>
            <pc:docMk/>
            <pc:sldMk cId="1670059232" sldId="297"/>
            <ac:spMk id="16" creationId="{CAE6C648-73DB-4A97-AB8E-196D106E3D28}"/>
          </ac:spMkLst>
        </pc:spChg>
        <pc:graphicFrameChg chg="mod">
          <ac:chgData name="Meyer Raphael (KOM-PGA-VSF)" userId="79615dfe-ed48-4e74-a40f-4f7b034c1c27" providerId="ADAL" clId="{96D77013-12DF-4911-886E-DED6CCA30677}" dt="2020-11-17T12:36:44.059" v="1356"/>
          <ac:graphicFrameMkLst>
            <pc:docMk/>
            <pc:sldMk cId="1670059232" sldId="297"/>
            <ac:graphicFrameMk id="5" creationId="{4CF6AB8B-CAB9-4C7E-8E59-E00357A4D7F0}"/>
          </ac:graphicFrameMkLst>
        </pc:graphicFrameChg>
        <pc:graphicFrameChg chg="del mod">
          <ac:chgData name="Meyer Raphael (KOM-PGA-VSF)" userId="79615dfe-ed48-4e74-a40f-4f7b034c1c27" providerId="ADAL" clId="{96D77013-12DF-4911-886E-DED6CCA30677}" dt="2020-11-17T10:25:37.458" v="1147" actId="478"/>
          <ac:graphicFrameMkLst>
            <pc:docMk/>
            <pc:sldMk cId="1670059232" sldId="297"/>
            <ac:graphicFrameMk id="6" creationId="{60571ECF-B349-4A7D-BB52-C93BE55CD5F3}"/>
          </ac:graphicFrameMkLst>
        </pc:graphicFrameChg>
        <pc:cxnChg chg="add mod">
          <ac:chgData name="Meyer Raphael (KOM-PGA-VSF)" userId="79615dfe-ed48-4e74-a40f-4f7b034c1c27" providerId="ADAL" clId="{96D77013-12DF-4911-886E-DED6CCA30677}" dt="2020-11-17T12:26:49.739" v="1238" actId="11529"/>
          <ac:cxnSpMkLst>
            <pc:docMk/>
            <pc:sldMk cId="1670059232" sldId="297"/>
            <ac:cxnSpMk id="4" creationId="{5A6D5A69-1622-463F-9124-B6EF867D5DE3}"/>
          </ac:cxnSpMkLst>
        </pc:cxnChg>
        <pc:cxnChg chg="add del mod">
          <ac:chgData name="Meyer Raphael (KOM-PGA-VSF)" userId="79615dfe-ed48-4e74-a40f-4f7b034c1c27" providerId="ADAL" clId="{96D77013-12DF-4911-886E-DED6CCA30677}" dt="2020-11-17T07:48:12.600" v="945" actId="478"/>
          <ac:cxnSpMkLst>
            <pc:docMk/>
            <pc:sldMk cId="1670059232" sldId="297"/>
            <ac:cxnSpMk id="11" creationId="{B63FEDE5-C1DE-450C-9441-3739C88B7DFA}"/>
          </ac:cxnSpMkLst>
        </pc:cxnChg>
        <pc:cxnChg chg="add mod">
          <ac:chgData name="Meyer Raphael (KOM-PGA-VSF)" userId="79615dfe-ed48-4e74-a40f-4f7b034c1c27" providerId="ADAL" clId="{96D77013-12DF-4911-886E-DED6CCA30677}" dt="2020-11-17T12:35:56.354" v="1324" actId="1076"/>
          <ac:cxnSpMkLst>
            <pc:docMk/>
            <pc:sldMk cId="1670059232" sldId="297"/>
            <ac:cxnSpMk id="14" creationId="{0074DA36-AC1B-434E-8C33-ED084765FD3B}"/>
          </ac:cxnSpMkLst>
        </pc:cxnChg>
      </pc:sldChg>
      <pc:sldChg chg="addSp delSp modSp add mod">
        <pc:chgData name="Meyer Raphael (KOM-PGA-VSF)" userId="79615dfe-ed48-4e74-a40f-4f7b034c1c27" providerId="ADAL" clId="{96D77013-12DF-4911-886E-DED6CCA30677}" dt="2020-11-13T12:57:42.543" v="832" actId="478"/>
        <pc:sldMkLst>
          <pc:docMk/>
          <pc:sldMk cId="1495152177" sldId="298"/>
        </pc:sldMkLst>
        <pc:spChg chg="mod">
          <ac:chgData name="Meyer Raphael (KOM-PGA-VSF)" userId="79615dfe-ed48-4e74-a40f-4f7b034c1c27" providerId="ADAL" clId="{96D77013-12DF-4911-886E-DED6CCA30677}" dt="2020-11-13T12:56:47.812" v="786" actId="20577"/>
          <ac:spMkLst>
            <pc:docMk/>
            <pc:sldMk cId="1495152177" sldId="298"/>
            <ac:spMk id="2" creationId="{A2DC317F-F1F4-4624-8FC1-3B68C1DBB3DA}"/>
          </ac:spMkLst>
        </pc:spChg>
        <pc:spChg chg="del mod">
          <ac:chgData name="Meyer Raphael (KOM-PGA-VSF)" userId="79615dfe-ed48-4e74-a40f-4f7b034c1c27" providerId="ADAL" clId="{96D77013-12DF-4911-886E-DED6CCA30677}" dt="2020-10-30T14:44:52.985" v="285" actId="478"/>
          <ac:spMkLst>
            <pc:docMk/>
            <pc:sldMk cId="1495152177" sldId="298"/>
            <ac:spMk id="7" creationId="{BA3F9A72-0541-4D1F-8CD8-1C2B8074FA1B}"/>
          </ac:spMkLst>
        </pc:spChg>
        <pc:spChg chg="del mod">
          <ac:chgData name="Meyer Raphael (KOM-PGA-VSF)" userId="79615dfe-ed48-4e74-a40f-4f7b034c1c27" providerId="ADAL" clId="{96D77013-12DF-4911-886E-DED6CCA30677}" dt="2020-10-30T14:45:37.002" v="305" actId="478"/>
          <ac:spMkLst>
            <pc:docMk/>
            <pc:sldMk cId="1495152177" sldId="298"/>
            <ac:spMk id="8" creationId="{B6DF2E20-66B6-43FF-BD5C-488FAFC28EE4}"/>
          </ac:spMkLst>
        </pc:spChg>
        <pc:spChg chg="del mod">
          <ac:chgData name="Meyer Raphael (KOM-PGA-VSF)" userId="79615dfe-ed48-4e74-a40f-4f7b034c1c27" providerId="ADAL" clId="{96D77013-12DF-4911-886E-DED6CCA30677}" dt="2020-10-30T14:44:49.827" v="284" actId="478"/>
          <ac:spMkLst>
            <pc:docMk/>
            <pc:sldMk cId="1495152177" sldId="298"/>
            <ac:spMk id="9" creationId="{B6990B61-32B2-4ADC-BF01-EDF7B4080F97}"/>
          </ac:spMkLst>
        </pc:spChg>
        <pc:spChg chg="mod">
          <ac:chgData name="Meyer Raphael (KOM-PGA-VSF)" userId="79615dfe-ed48-4e74-a40f-4f7b034c1c27" providerId="ADAL" clId="{96D77013-12DF-4911-886E-DED6CCA30677}" dt="2020-11-13T12:56:57.286" v="799" actId="6549"/>
          <ac:spMkLst>
            <pc:docMk/>
            <pc:sldMk cId="1495152177" sldId="298"/>
            <ac:spMk id="10" creationId="{077DFD58-E5EE-4B68-9325-D935DB04DD40}"/>
          </ac:spMkLst>
        </pc:spChg>
        <pc:spChg chg="add mod">
          <ac:chgData name="Meyer Raphael (KOM-PGA-VSF)" userId="79615dfe-ed48-4e74-a40f-4f7b034c1c27" providerId="ADAL" clId="{96D77013-12DF-4911-886E-DED6CCA30677}" dt="2020-10-30T14:51:01.192" v="362" actId="1076"/>
          <ac:spMkLst>
            <pc:docMk/>
            <pc:sldMk cId="1495152177" sldId="298"/>
            <ac:spMk id="11" creationId="{216B739F-8150-4262-9342-2F1CBFEB8A15}"/>
          </ac:spMkLst>
        </pc:spChg>
        <pc:spChg chg="add mod">
          <ac:chgData name="Meyer Raphael (KOM-PGA-VSF)" userId="79615dfe-ed48-4e74-a40f-4f7b034c1c27" providerId="ADAL" clId="{96D77013-12DF-4911-886E-DED6CCA30677}" dt="2020-10-30T14:50:57.916" v="361" actId="1076"/>
          <ac:spMkLst>
            <pc:docMk/>
            <pc:sldMk cId="1495152177" sldId="298"/>
            <ac:spMk id="12" creationId="{466A77C5-3AD7-44B3-83A7-0B8FF87DCA70}"/>
          </ac:spMkLst>
        </pc:spChg>
        <pc:spChg chg="add del mod">
          <ac:chgData name="Meyer Raphael (KOM-PGA-VSF)" userId="79615dfe-ed48-4e74-a40f-4f7b034c1c27" providerId="ADAL" clId="{96D77013-12DF-4911-886E-DED6CCA30677}" dt="2020-11-13T12:57:42.543" v="832" actId="478"/>
          <ac:spMkLst>
            <pc:docMk/>
            <pc:sldMk cId="1495152177" sldId="298"/>
            <ac:spMk id="14" creationId="{FD64CF28-6B33-4810-94AF-48BDFC5B6DB7}"/>
          </ac:spMkLst>
        </pc:spChg>
        <pc:spChg chg="add mod">
          <ac:chgData name="Meyer Raphael (KOM-PGA-VSF)" userId="79615dfe-ed48-4e74-a40f-4f7b034c1c27" providerId="ADAL" clId="{96D77013-12DF-4911-886E-DED6CCA30677}" dt="2020-10-30T14:55:15.136" v="403" actId="1038"/>
          <ac:spMkLst>
            <pc:docMk/>
            <pc:sldMk cId="1495152177" sldId="298"/>
            <ac:spMk id="16" creationId="{E0218AF3-B8F0-43F9-B56B-123AF027A635}"/>
          </ac:spMkLst>
        </pc:spChg>
        <pc:spChg chg="add del mod">
          <ac:chgData name="Meyer Raphael (KOM-PGA-VSF)" userId="79615dfe-ed48-4e74-a40f-4f7b034c1c27" providerId="ADAL" clId="{96D77013-12DF-4911-886E-DED6CCA30677}" dt="2020-10-30T14:56:49.786" v="418" actId="478"/>
          <ac:spMkLst>
            <pc:docMk/>
            <pc:sldMk cId="1495152177" sldId="298"/>
            <ac:spMk id="20" creationId="{1A4B8815-1463-4BB0-B626-12094D0AA1A9}"/>
          </ac:spMkLst>
        </pc:spChg>
        <pc:graphicFrameChg chg="mod">
          <ac:chgData name="Meyer Raphael (KOM-PGA-VSF)" userId="79615dfe-ed48-4e74-a40f-4f7b034c1c27" providerId="ADAL" clId="{96D77013-12DF-4911-886E-DED6CCA30677}" dt="2020-10-30T14:56:46.828" v="417"/>
          <ac:graphicFrameMkLst>
            <pc:docMk/>
            <pc:sldMk cId="1495152177" sldId="298"/>
            <ac:graphicFrameMk id="5" creationId="{4CF6AB8B-CAB9-4C7E-8E59-E00357A4D7F0}"/>
          </ac:graphicFrameMkLst>
        </pc:graphicFrameChg>
        <pc:graphicFrameChg chg="del">
          <ac:chgData name="Meyer Raphael (KOM-PGA-VSF)" userId="79615dfe-ed48-4e74-a40f-4f7b034c1c27" providerId="ADAL" clId="{96D77013-12DF-4911-886E-DED6CCA30677}" dt="2020-10-30T14:38:26.393" v="249" actId="478"/>
          <ac:graphicFrameMkLst>
            <pc:docMk/>
            <pc:sldMk cId="1495152177" sldId="298"/>
            <ac:graphicFrameMk id="6" creationId="{60571ECF-B349-4A7D-BB52-C93BE55CD5F3}"/>
          </ac:graphicFrameMkLst>
        </pc:graphicFrameChg>
        <pc:cxnChg chg="add mod">
          <ac:chgData name="Meyer Raphael (KOM-PGA-VSF)" userId="79615dfe-ed48-4e74-a40f-4f7b034c1c27" providerId="ADAL" clId="{96D77013-12DF-4911-886E-DED6CCA30677}" dt="2020-10-30T14:49:55.288" v="329" actId="692"/>
          <ac:cxnSpMkLst>
            <pc:docMk/>
            <pc:sldMk cId="1495152177" sldId="298"/>
            <ac:cxnSpMk id="13" creationId="{B728F4DE-8CC6-4054-BA1D-EBF2119A4EBB}"/>
          </ac:cxnSpMkLst>
        </pc:cxnChg>
        <pc:cxnChg chg="add mod">
          <ac:chgData name="Meyer Raphael (KOM-PGA-VSF)" userId="79615dfe-ed48-4e74-a40f-4f7b034c1c27" providerId="ADAL" clId="{96D77013-12DF-4911-886E-DED6CCA30677}" dt="2020-10-30T14:56:16.344" v="409" actId="14100"/>
          <ac:cxnSpMkLst>
            <pc:docMk/>
            <pc:sldMk cId="1495152177" sldId="298"/>
            <ac:cxnSpMk id="17" creationId="{FC62769B-4223-45AE-B088-516EBE8DECCF}"/>
          </ac:cxnSpMkLst>
        </pc:cxnChg>
      </pc:sldChg>
      <pc:sldChg chg="addSp delSp modSp add del modTransition">
        <pc:chgData name="Meyer Raphael (KOM-PGA-VSF)" userId="79615dfe-ed48-4e74-a40f-4f7b034c1c27" providerId="ADAL" clId="{96D77013-12DF-4911-886E-DED6CCA30677}" dt="2020-11-17T07:47:32.047" v="942" actId="2696"/>
        <pc:sldMkLst>
          <pc:docMk/>
          <pc:sldMk cId="2857925706" sldId="299"/>
        </pc:sldMkLst>
        <pc:spChg chg="mod">
          <ac:chgData name="Meyer Raphael (KOM-PGA-VSF)" userId="79615dfe-ed48-4e74-a40f-4f7b034c1c27" providerId="ADAL" clId="{96D77013-12DF-4911-886E-DED6CCA30677}" dt="2020-11-13T12:44:15.160" v="641" actId="20577"/>
          <ac:spMkLst>
            <pc:docMk/>
            <pc:sldMk cId="2857925706" sldId="299"/>
            <ac:spMk id="2" creationId="{81038B16-E406-45E6-A6A5-77762D042816}"/>
          </ac:spMkLst>
        </pc:spChg>
        <pc:spChg chg="del">
          <ac:chgData name="Meyer Raphael (KOM-PGA-VSF)" userId="79615dfe-ed48-4e74-a40f-4f7b034c1c27" providerId="ADAL" clId="{96D77013-12DF-4911-886E-DED6CCA30677}" dt="2020-11-13T10:20:13.916" v="519" actId="478"/>
          <ac:spMkLst>
            <pc:docMk/>
            <pc:sldMk cId="2857925706" sldId="299"/>
            <ac:spMk id="3" creationId="{0CCFE15B-29DC-48F4-BEFD-EE39FCE2CCB3}"/>
          </ac:spMkLst>
        </pc:spChg>
        <pc:picChg chg="add mod">
          <ac:chgData name="Meyer Raphael (KOM-PGA-VSF)" userId="79615dfe-ed48-4e74-a40f-4f7b034c1c27" providerId="ADAL" clId="{96D77013-12DF-4911-886E-DED6CCA30677}" dt="2020-11-13T10:20:39.687" v="522" actId="1076"/>
          <ac:picMkLst>
            <pc:docMk/>
            <pc:sldMk cId="2857925706" sldId="299"/>
            <ac:picMk id="4" creationId="{EC7D5083-9BDA-4D74-A5F4-CBFCE6FB3188}"/>
          </ac:picMkLst>
        </pc:picChg>
      </pc:sldChg>
      <pc:sldChg chg="addSp delSp modSp add del modTransition">
        <pc:chgData name="Meyer Raphael (KOM-PGA-VSF)" userId="79615dfe-ed48-4e74-a40f-4f7b034c1c27" providerId="ADAL" clId="{96D77013-12DF-4911-886E-DED6CCA30677}" dt="2020-11-17T07:47:33.793" v="943" actId="2696"/>
        <pc:sldMkLst>
          <pc:docMk/>
          <pc:sldMk cId="394607211" sldId="300"/>
        </pc:sldMkLst>
        <pc:spChg chg="mod">
          <ac:chgData name="Meyer Raphael (KOM-PGA-VSF)" userId="79615dfe-ed48-4e74-a40f-4f7b034c1c27" providerId="ADAL" clId="{96D77013-12DF-4911-886E-DED6CCA30677}" dt="2020-11-13T12:44:07.984" v="627" actId="20577"/>
          <ac:spMkLst>
            <pc:docMk/>
            <pc:sldMk cId="394607211" sldId="300"/>
            <ac:spMk id="2" creationId="{9756FC1E-A507-4005-A4F1-10A9CF677E6B}"/>
          </ac:spMkLst>
        </pc:spChg>
        <pc:spChg chg="del">
          <ac:chgData name="Meyer Raphael (KOM-PGA-VSF)" userId="79615dfe-ed48-4e74-a40f-4f7b034c1c27" providerId="ADAL" clId="{96D77013-12DF-4911-886E-DED6CCA30677}" dt="2020-11-13T10:27:18.702" v="525" actId="478"/>
          <ac:spMkLst>
            <pc:docMk/>
            <pc:sldMk cId="394607211" sldId="300"/>
            <ac:spMk id="3" creationId="{AF6057A0-CC6B-401B-B6C9-C927BAE3A639}"/>
          </ac:spMkLst>
        </pc:spChg>
        <pc:picChg chg="add mod">
          <ac:chgData name="Meyer Raphael (KOM-PGA-VSF)" userId="79615dfe-ed48-4e74-a40f-4f7b034c1c27" providerId="ADAL" clId="{96D77013-12DF-4911-886E-DED6CCA30677}" dt="2020-11-13T10:27:22.709" v="527" actId="14100"/>
          <ac:picMkLst>
            <pc:docMk/>
            <pc:sldMk cId="394607211" sldId="300"/>
            <ac:picMk id="4" creationId="{FA432D02-F1A0-4AE5-BEB8-C19D1B48CF36}"/>
          </ac:picMkLst>
        </pc:picChg>
      </pc:sldChg>
      <pc:sldChg chg="addSp modSp add ord modTransition">
        <pc:chgData name="Meyer Raphael (KOM-PGA-VSF)" userId="79615dfe-ed48-4e74-a40f-4f7b034c1c27" providerId="ADAL" clId="{96D77013-12DF-4911-886E-DED6CCA30677}" dt="2020-11-17T07:40:59.497" v="910"/>
        <pc:sldMkLst>
          <pc:docMk/>
          <pc:sldMk cId="1794381502" sldId="301"/>
        </pc:sldMkLst>
        <pc:spChg chg="mod">
          <ac:chgData name="Meyer Raphael (KOM-PGA-VSF)" userId="79615dfe-ed48-4e74-a40f-4f7b034c1c27" providerId="ADAL" clId="{96D77013-12DF-4911-886E-DED6CCA30677}" dt="2020-11-13T12:28:38.603" v="551" actId="20577"/>
          <ac:spMkLst>
            <pc:docMk/>
            <pc:sldMk cId="1794381502" sldId="301"/>
            <ac:spMk id="2" creationId="{A2DC317F-F1F4-4624-8FC1-3B68C1DBB3DA}"/>
          </ac:spMkLst>
        </pc:spChg>
        <pc:spChg chg="add mod">
          <ac:chgData name="Meyer Raphael (KOM-PGA-VSF)" userId="79615dfe-ed48-4e74-a40f-4f7b034c1c27" providerId="ADAL" clId="{96D77013-12DF-4911-886E-DED6CCA30677}" dt="2020-11-16T12:58:27.730" v="890" actId="14100"/>
          <ac:spMkLst>
            <pc:docMk/>
            <pc:sldMk cId="1794381502" sldId="301"/>
            <ac:spMk id="4" creationId="{DD1AED53-67C2-4736-A0FC-13C9756ED56F}"/>
          </ac:spMkLst>
        </pc:spChg>
        <pc:spChg chg="mod">
          <ac:chgData name="Meyer Raphael (KOM-PGA-VSF)" userId="79615dfe-ed48-4e74-a40f-4f7b034c1c27" providerId="ADAL" clId="{96D77013-12DF-4911-886E-DED6CCA30677}" dt="2020-11-16T13:16:49.371" v="909" actId="1076"/>
          <ac:spMkLst>
            <pc:docMk/>
            <pc:sldMk cId="1794381502" sldId="301"/>
            <ac:spMk id="8" creationId="{B6DF2E20-66B6-43FF-BD5C-488FAFC28EE4}"/>
          </ac:spMkLst>
        </pc:spChg>
        <pc:spChg chg="mod">
          <ac:chgData name="Meyer Raphael (KOM-PGA-VSF)" userId="79615dfe-ed48-4e74-a40f-4f7b034c1c27" providerId="ADAL" clId="{96D77013-12DF-4911-886E-DED6CCA30677}" dt="2020-11-13T12:28:50.419" v="561" actId="20577"/>
          <ac:spMkLst>
            <pc:docMk/>
            <pc:sldMk cId="1794381502" sldId="301"/>
            <ac:spMk id="10" creationId="{077DFD58-E5EE-4B68-9325-D935DB04DD40}"/>
          </ac:spMkLst>
        </pc:spChg>
        <pc:spChg chg="add mod">
          <ac:chgData name="Meyer Raphael (KOM-PGA-VSF)" userId="79615dfe-ed48-4e74-a40f-4f7b034c1c27" providerId="ADAL" clId="{96D77013-12DF-4911-886E-DED6CCA30677}" dt="2020-11-16T12:59:09.661" v="908" actId="20577"/>
          <ac:spMkLst>
            <pc:docMk/>
            <pc:sldMk cId="1794381502" sldId="301"/>
            <ac:spMk id="12" creationId="{9BE5D2CD-A67D-4F17-BA1D-B6A27E5681C6}"/>
          </ac:spMkLst>
        </pc:spChg>
        <pc:cxnChg chg="add mod">
          <ac:chgData name="Meyer Raphael (KOM-PGA-VSF)" userId="79615dfe-ed48-4e74-a40f-4f7b034c1c27" providerId="ADAL" clId="{96D77013-12DF-4911-886E-DED6CCA30677}" dt="2020-11-16T12:57:59.177" v="873" actId="14100"/>
          <ac:cxnSpMkLst>
            <pc:docMk/>
            <pc:sldMk cId="1794381502" sldId="301"/>
            <ac:cxnSpMk id="11" creationId="{C0CD2DE0-32DF-43C1-88A0-8090F1AADDFB}"/>
          </ac:cxnSpMkLst>
        </pc:cxnChg>
      </pc:sldChg>
      <pc:sldChg chg="addSp delSp modSp add modTransition">
        <pc:chgData name="Meyer Raphael (KOM-PGA-VSF)" userId="79615dfe-ed48-4e74-a40f-4f7b034c1c27" providerId="ADAL" clId="{96D77013-12DF-4911-886E-DED6CCA30677}" dt="2020-11-13T14:59:51.850" v="866"/>
        <pc:sldMkLst>
          <pc:docMk/>
          <pc:sldMk cId="2829123890" sldId="302"/>
        </pc:sldMkLst>
        <pc:spChg chg="mod">
          <ac:chgData name="Meyer Raphael (KOM-PGA-VSF)" userId="79615dfe-ed48-4e74-a40f-4f7b034c1c27" providerId="ADAL" clId="{96D77013-12DF-4911-886E-DED6CCA30677}" dt="2020-11-13T12:48:16.234" v="669" actId="20577"/>
          <ac:spMkLst>
            <pc:docMk/>
            <pc:sldMk cId="2829123890" sldId="302"/>
            <ac:spMk id="2" creationId="{635DB0D4-4CC1-414B-81B2-EE0D3584C6DE}"/>
          </ac:spMkLst>
        </pc:spChg>
        <pc:spChg chg="del">
          <ac:chgData name="Meyer Raphael (KOM-PGA-VSF)" userId="79615dfe-ed48-4e74-a40f-4f7b034c1c27" providerId="ADAL" clId="{96D77013-12DF-4911-886E-DED6CCA30677}" dt="2020-11-13T12:43:21.636" v="565" actId="478"/>
          <ac:spMkLst>
            <pc:docMk/>
            <pc:sldMk cId="2829123890" sldId="302"/>
            <ac:spMk id="3" creationId="{66736F92-B012-4B5C-BFC1-D7B538C36870}"/>
          </ac:spMkLst>
        </pc:spChg>
        <pc:picChg chg="add mod">
          <ac:chgData name="Meyer Raphael (KOM-PGA-VSF)" userId="79615dfe-ed48-4e74-a40f-4f7b034c1c27" providerId="ADAL" clId="{96D77013-12DF-4911-886E-DED6CCA30677}" dt="2020-11-13T12:47:55.165" v="642" actId="1076"/>
          <ac:picMkLst>
            <pc:docMk/>
            <pc:sldMk cId="2829123890" sldId="302"/>
            <ac:picMk id="4" creationId="{A6D7396B-82C2-4818-81A6-716C0CCA1223}"/>
          </ac:picMkLst>
        </pc:picChg>
        <pc:inkChg chg="add">
          <ac:chgData name="Meyer Raphael (KOM-PGA-VSF)" userId="79615dfe-ed48-4e74-a40f-4f7b034c1c27" providerId="ADAL" clId="{96D77013-12DF-4911-886E-DED6CCA30677}" dt="2020-11-13T12:48:43.042" v="670" actId="9405"/>
          <ac:inkMkLst>
            <pc:docMk/>
            <pc:sldMk cId="2829123890" sldId="302"/>
            <ac:inkMk id="5" creationId="{A1F31124-6690-488F-BEE8-03472907467D}"/>
          </ac:inkMkLst>
        </pc:inkChg>
      </pc:sldChg>
      <pc:sldChg chg="addSp delSp modSp add modTransition">
        <pc:chgData name="Meyer Raphael (KOM-PGA-VSF)" userId="79615dfe-ed48-4e74-a40f-4f7b034c1c27" providerId="ADAL" clId="{96D77013-12DF-4911-886E-DED6CCA30677}" dt="2020-11-13T14:59:55.068" v="867"/>
        <pc:sldMkLst>
          <pc:docMk/>
          <pc:sldMk cId="220263692" sldId="303"/>
        </pc:sldMkLst>
        <pc:spChg chg="mod">
          <ac:chgData name="Meyer Raphael (KOM-PGA-VSF)" userId="79615dfe-ed48-4e74-a40f-4f7b034c1c27" providerId="ADAL" clId="{96D77013-12DF-4911-886E-DED6CCA30677}" dt="2020-11-13T12:50:28.060" v="707" actId="20577"/>
          <ac:spMkLst>
            <pc:docMk/>
            <pc:sldMk cId="220263692" sldId="303"/>
            <ac:spMk id="2" creationId="{3D6DD22C-2650-49D4-BB4F-2EA1E69087A7}"/>
          </ac:spMkLst>
        </pc:spChg>
        <pc:spChg chg="del">
          <ac:chgData name="Meyer Raphael (KOM-PGA-VSF)" userId="79615dfe-ed48-4e74-a40f-4f7b034c1c27" providerId="ADAL" clId="{96D77013-12DF-4911-886E-DED6CCA30677}" dt="2020-11-13T12:50:33.733" v="708" actId="478"/>
          <ac:spMkLst>
            <pc:docMk/>
            <pc:sldMk cId="220263692" sldId="303"/>
            <ac:spMk id="3" creationId="{15FA5AD1-9FA4-40B9-9265-A0A90B934551}"/>
          </ac:spMkLst>
        </pc:spChg>
        <pc:spChg chg="add mod">
          <ac:chgData name="Meyer Raphael (KOM-PGA-VSF)" userId="79615dfe-ed48-4e74-a40f-4f7b034c1c27" providerId="ADAL" clId="{96D77013-12DF-4911-886E-DED6CCA30677}" dt="2020-11-13T12:53:23.413" v="762" actId="20577"/>
          <ac:spMkLst>
            <pc:docMk/>
            <pc:sldMk cId="220263692" sldId="303"/>
            <ac:spMk id="6" creationId="{115FFA75-0FB4-4EDC-B269-8FC01449D209}"/>
          </ac:spMkLst>
        </pc:spChg>
        <pc:spChg chg="add mod">
          <ac:chgData name="Meyer Raphael (KOM-PGA-VSF)" userId="79615dfe-ed48-4e74-a40f-4f7b034c1c27" providerId="ADAL" clId="{96D77013-12DF-4911-886E-DED6CCA30677}" dt="2020-11-13T12:51:35.828" v="736" actId="20577"/>
          <ac:spMkLst>
            <pc:docMk/>
            <pc:sldMk cId="220263692" sldId="303"/>
            <ac:spMk id="8" creationId="{70EB3E2A-BBAE-4F62-AB46-F7429AD69DEC}"/>
          </ac:spMkLst>
        </pc:spChg>
        <pc:spChg chg="add">
          <ac:chgData name="Meyer Raphael (KOM-PGA-VSF)" userId="79615dfe-ed48-4e74-a40f-4f7b034c1c27" providerId="ADAL" clId="{96D77013-12DF-4911-886E-DED6CCA30677}" dt="2020-11-13T12:51:42.618" v="737"/>
          <ac:spMkLst>
            <pc:docMk/>
            <pc:sldMk cId="220263692" sldId="303"/>
            <ac:spMk id="9" creationId="{2C399D9A-E2CF-49F0-81FA-67443E9208C1}"/>
          </ac:spMkLst>
        </pc:spChg>
        <pc:spChg chg="add mod">
          <ac:chgData name="Meyer Raphael (KOM-PGA-VSF)" userId="79615dfe-ed48-4e74-a40f-4f7b034c1c27" providerId="ADAL" clId="{96D77013-12DF-4911-886E-DED6CCA30677}" dt="2020-11-13T12:53:26.756" v="766" actId="20577"/>
          <ac:spMkLst>
            <pc:docMk/>
            <pc:sldMk cId="220263692" sldId="303"/>
            <ac:spMk id="10" creationId="{73E1F4CA-61A6-48EE-9D1B-42BBEDF8AF09}"/>
          </ac:spMkLst>
        </pc:spChg>
        <pc:picChg chg="add mod">
          <ac:chgData name="Meyer Raphael (KOM-PGA-VSF)" userId="79615dfe-ed48-4e74-a40f-4f7b034c1c27" providerId="ADAL" clId="{96D77013-12DF-4911-886E-DED6CCA30677}" dt="2020-11-13T12:50:49.231" v="726" actId="14100"/>
          <ac:picMkLst>
            <pc:docMk/>
            <pc:sldMk cId="220263692" sldId="303"/>
            <ac:picMk id="5" creationId="{A732FA37-C035-4240-B571-18EFF4DB6E6F}"/>
          </ac:picMkLst>
        </pc:picChg>
        <pc:picChg chg="add mod">
          <ac:chgData name="Meyer Raphael (KOM-PGA-VSF)" userId="79615dfe-ed48-4e74-a40f-4f7b034c1c27" providerId="ADAL" clId="{96D77013-12DF-4911-886E-DED6CCA30677}" dt="2020-11-13T12:51:27.152" v="730" actId="1076"/>
          <ac:picMkLst>
            <pc:docMk/>
            <pc:sldMk cId="220263692" sldId="303"/>
            <ac:picMk id="7" creationId="{B03252A1-852C-4496-BF1E-5B09E124D414}"/>
          </ac:picMkLst>
        </pc:picChg>
        <pc:picChg chg="add mod">
          <ac:chgData name="Meyer Raphael (KOM-PGA-VSF)" userId="79615dfe-ed48-4e74-a40f-4f7b034c1c27" providerId="ADAL" clId="{96D77013-12DF-4911-886E-DED6CCA30677}" dt="2020-11-13T12:52:20.889" v="745" actId="1076"/>
          <ac:picMkLst>
            <pc:docMk/>
            <pc:sldMk cId="220263692" sldId="303"/>
            <ac:picMk id="11" creationId="{CC9DDBE7-AC46-47A5-B2C1-1DE6F571ECD3}"/>
          </ac:picMkLst>
        </pc:picChg>
        <pc:picChg chg="add mod">
          <ac:chgData name="Meyer Raphael (KOM-PGA-VSF)" userId="79615dfe-ed48-4e74-a40f-4f7b034c1c27" providerId="ADAL" clId="{96D77013-12DF-4911-886E-DED6CCA30677}" dt="2020-11-13T12:52:59.057" v="758" actId="14100"/>
          <ac:picMkLst>
            <pc:docMk/>
            <pc:sldMk cId="220263692" sldId="303"/>
            <ac:picMk id="12" creationId="{896A26EB-136C-44D6-97F9-200136209B45}"/>
          </ac:picMkLst>
        </pc:picChg>
        <pc:inkChg chg="add">
          <ac:chgData name="Meyer Raphael (KOM-PGA-VSF)" userId="79615dfe-ed48-4e74-a40f-4f7b034c1c27" providerId="ADAL" clId="{96D77013-12DF-4911-886E-DED6CCA30677}" dt="2020-11-13T12:50:13.780" v="672" actId="9405"/>
          <ac:inkMkLst>
            <pc:docMk/>
            <pc:sldMk cId="220263692" sldId="303"/>
            <ac:inkMk id="4" creationId="{1312D395-7FB4-4140-8983-C54F21276430}"/>
          </ac:inkMkLst>
        </pc:inkChg>
      </pc:sldChg>
      <pc:sldChg chg="add">
        <pc:chgData name="Meyer Raphael (KOM-PGA-VSF)" userId="79615dfe-ed48-4e74-a40f-4f7b034c1c27" providerId="ADAL" clId="{96D77013-12DF-4911-886E-DED6CCA30677}" dt="2020-11-17T07:48:07.737" v="944"/>
        <pc:sldMkLst>
          <pc:docMk/>
          <pc:sldMk cId="4199929677" sldId="304"/>
        </pc:sldMkLst>
      </pc:sldChg>
      <pc:sldChg chg="addSp delSp modSp add del mod">
        <pc:chgData name="Meyer Raphael (KOM-PGA-VSF)" userId="79615dfe-ed48-4e74-a40f-4f7b034c1c27" providerId="ADAL" clId="{96D77013-12DF-4911-886E-DED6CCA30677}" dt="2020-11-18T15:24:54.926" v="3213" actId="2696"/>
        <pc:sldMkLst>
          <pc:docMk/>
          <pc:sldMk cId="3508847299" sldId="305"/>
        </pc:sldMkLst>
        <pc:spChg chg="del">
          <ac:chgData name="Meyer Raphael (KOM-PGA-VSF)" userId="79615dfe-ed48-4e74-a40f-4f7b034c1c27" providerId="ADAL" clId="{96D77013-12DF-4911-886E-DED6CCA30677}" dt="2020-11-17T08:28:13.207" v="979" actId="478"/>
          <ac:spMkLst>
            <pc:docMk/>
            <pc:sldMk cId="3508847299" sldId="305"/>
            <ac:spMk id="3" creationId="{103D4EC1-0492-4E71-9FEE-5436CB95B92C}"/>
          </ac:spMkLst>
        </pc:spChg>
        <pc:graphicFrameChg chg="del mod">
          <ac:chgData name="Meyer Raphael (KOM-PGA-VSF)" userId="79615dfe-ed48-4e74-a40f-4f7b034c1c27" providerId="ADAL" clId="{96D77013-12DF-4911-886E-DED6CCA30677}" dt="2020-11-17T08:28:45.006" v="980" actId="478"/>
          <ac:graphicFrameMkLst>
            <pc:docMk/>
            <pc:sldMk cId="3508847299" sldId="305"/>
            <ac:graphicFrameMk id="4" creationId="{9291C84A-4C97-461D-9B46-B7F6D5740BFC}"/>
          </ac:graphicFrameMkLst>
        </pc:graphicFrameChg>
        <pc:graphicFrameChg chg="del">
          <ac:chgData name="Meyer Raphael (KOM-PGA-VSF)" userId="79615dfe-ed48-4e74-a40f-4f7b034c1c27" providerId="ADAL" clId="{96D77013-12DF-4911-886E-DED6CCA30677}" dt="2020-11-17T08:28:46.509" v="981" actId="478"/>
          <ac:graphicFrameMkLst>
            <pc:docMk/>
            <pc:sldMk cId="3508847299" sldId="305"/>
            <ac:graphicFrameMk id="5" creationId="{2E9894B6-5EFD-4731-A89F-8F4180C9963B}"/>
          </ac:graphicFrameMkLst>
        </pc:graphicFrameChg>
        <pc:graphicFrameChg chg="del mod">
          <ac:chgData name="Meyer Raphael (KOM-PGA-VSF)" userId="79615dfe-ed48-4e74-a40f-4f7b034c1c27" providerId="ADAL" clId="{96D77013-12DF-4911-886E-DED6CCA30677}" dt="2020-11-17T08:28:49.814" v="983" actId="478"/>
          <ac:graphicFrameMkLst>
            <pc:docMk/>
            <pc:sldMk cId="3508847299" sldId="305"/>
            <ac:graphicFrameMk id="6" creationId="{31B4DEAA-DBA9-4022-9F5D-6589639B9B82}"/>
          </ac:graphicFrameMkLst>
        </pc:graphicFrameChg>
        <pc:graphicFrameChg chg="del">
          <ac:chgData name="Meyer Raphael (KOM-PGA-VSF)" userId="79615dfe-ed48-4e74-a40f-4f7b034c1c27" providerId="ADAL" clId="{96D77013-12DF-4911-886E-DED6CCA30677}" dt="2020-11-17T08:28:48.011" v="982" actId="478"/>
          <ac:graphicFrameMkLst>
            <pc:docMk/>
            <pc:sldMk cId="3508847299" sldId="305"/>
            <ac:graphicFrameMk id="7" creationId="{88A895FC-410D-4AE5-A635-9F2D1FD0026F}"/>
          </ac:graphicFrameMkLst>
        </pc:graphicFrameChg>
        <pc:graphicFrameChg chg="add del">
          <ac:chgData name="Meyer Raphael (KOM-PGA-VSF)" userId="79615dfe-ed48-4e74-a40f-4f7b034c1c27" providerId="ADAL" clId="{96D77013-12DF-4911-886E-DED6CCA30677}" dt="2020-11-17T08:29:34.174" v="989" actId="478"/>
          <ac:graphicFrameMkLst>
            <pc:docMk/>
            <pc:sldMk cId="3508847299" sldId="305"/>
            <ac:graphicFrameMk id="8" creationId="{9291C84A-4C97-461D-9B46-B7F6D5740BFC}"/>
          </ac:graphicFrameMkLst>
        </pc:graphicFrameChg>
        <pc:graphicFrameChg chg="add del">
          <ac:chgData name="Meyer Raphael (KOM-PGA-VSF)" userId="79615dfe-ed48-4e74-a40f-4f7b034c1c27" providerId="ADAL" clId="{96D77013-12DF-4911-886E-DED6CCA30677}" dt="2020-11-17T08:29:36.403" v="990" actId="478"/>
          <ac:graphicFrameMkLst>
            <pc:docMk/>
            <pc:sldMk cId="3508847299" sldId="305"/>
            <ac:graphicFrameMk id="9" creationId="{2E9894B6-5EFD-4731-A89F-8F4180C9963B}"/>
          </ac:graphicFrameMkLst>
        </pc:graphicFrameChg>
        <pc:graphicFrameChg chg="add del mod">
          <ac:chgData name="Meyer Raphael (KOM-PGA-VSF)" userId="79615dfe-ed48-4e74-a40f-4f7b034c1c27" providerId="ADAL" clId="{96D77013-12DF-4911-886E-DED6CCA30677}" dt="2020-11-17T08:29:39.371" v="993" actId="478"/>
          <ac:graphicFrameMkLst>
            <pc:docMk/>
            <pc:sldMk cId="3508847299" sldId="305"/>
            <ac:graphicFrameMk id="10" creationId="{31B4DEAA-DBA9-4022-9F5D-6589639B9B82}"/>
          </ac:graphicFrameMkLst>
        </pc:graphicFrameChg>
        <pc:graphicFrameChg chg="add del">
          <ac:chgData name="Meyer Raphael (KOM-PGA-VSF)" userId="79615dfe-ed48-4e74-a40f-4f7b034c1c27" providerId="ADAL" clId="{96D77013-12DF-4911-886E-DED6CCA30677}" dt="2020-11-17T08:29:37.953" v="991" actId="478"/>
          <ac:graphicFrameMkLst>
            <pc:docMk/>
            <pc:sldMk cId="3508847299" sldId="305"/>
            <ac:graphicFrameMk id="11" creationId="{88A895FC-410D-4AE5-A635-9F2D1FD0026F}"/>
          </ac:graphicFrameMkLst>
        </pc:graphicFrameChg>
        <pc:graphicFrameChg chg="add del mod">
          <ac:chgData name="Meyer Raphael (KOM-PGA-VSF)" userId="79615dfe-ed48-4e74-a40f-4f7b034c1c27" providerId="ADAL" clId="{96D77013-12DF-4911-886E-DED6CCA30677}" dt="2020-11-17T08:30:58.985" v="1008" actId="478"/>
          <ac:graphicFrameMkLst>
            <pc:docMk/>
            <pc:sldMk cId="3508847299" sldId="305"/>
            <ac:graphicFrameMk id="14" creationId="{9C5C5DDE-D6ED-4BBE-B2A5-7A22EE55D284}"/>
          </ac:graphicFrameMkLst>
        </pc:graphicFrameChg>
        <pc:graphicFrameChg chg="add del mod">
          <ac:chgData name="Meyer Raphael (KOM-PGA-VSF)" userId="79615dfe-ed48-4e74-a40f-4f7b034c1c27" providerId="ADAL" clId="{96D77013-12DF-4911-886E-DED6CCA30677}" dt="2020-11-17T08:30:56.929" v="1007" actId="478"/>
          <ac:graphicFrameMkLst>
            <pc:docMk/>
            <pc:sldMk cId="3508847299" sldId="305"/>
            <ac:graphicFrameMk id="15" creationId="{8C5E844F-B42F-466A-B7EC-27886D40BEC4}"/>
          </ac:graphicFrameMkLst>
        </pc:graphicFrameChg>
      </pc:sldChg>
      <pc:sldChg chg="addSp delSp modSp add mod ord modTransition addCm delCm">
        <pc:chgData name="Meyer Raphael (KOM-PGA-VSF)" userId="79615dfe-ed48-4e74-a40f-4f7b034c1c27" providerId="ADAL" clId="{96D77013-12DF-4911-886E-DED6CCA30677}" dt="2020-12-16T10:31:07.110" v="3985" actId="27918"/>
        <pc:sldMkLst>
          <pc:docMk/>
          <pc:sldMk cId="1667945532" sldId="306"/>
        </pc:sldMkLst>
        <pc:spChg chg="mod">
          <ac:chgData name="Meyer Raphael (KOM-PGA-VSF)" userId="79615dfe-ed48-4e74-a40f-4f7b034c1c27" providerId="ADAL" clId="{96D77013-12DF-4911-886E-DED6CCA30677}" dt="2020-11-17T15:01:21.422" v="1927" actId="6549"/>
          <ac:spMkLst>
            <pc:docMk/>
            <pc:sldMk cId="1667945532" sldId="306"/>
            <ac:spMk id="2" creationId="{A2DC317F-F1F4-4624-8FC1-3B68C1DBB3DA}"/>
          </ac:spMkLst>
        </pc:spChg>
        <pc:spChg chg="add del mod">
          <ac:chgData name="Meyer Raphael (KOM-PGA-VSF)" userId="79615dfe-ed48-4e74-a40f-4f7b034c1c27" providerId="ADAL" clId="{96D77013-12DF-4911-886E-DED6CCA30677}" dt="2020-11-18T09:38:30.360" v="2630" actId="478"/>
          <ac:spMkLst>
            <pc:docMk/>
            <pc:sldMk cId="1667945532" sldId="306"/>
            <ac:spMk id="3" creationId="{10790799-4385-4767-B27E-F2CC29801A6B}"/>
          </ac:spMkLst>
        </pc:spChg>
        <pc:spChg chg="mod">
          <ac:chgData name="Meyer Raphael (KOM-PGA-VSF)" userId="79615dfe-ed48-4e74-a40f-4f7b034c1c27" providerId="ADAL" clId="{96D77013-12DF-4911-886E-DED6CCA30677}" dt="2020-12-02T10:40:13.706" v="3492" actId="20577"/>
          <ac:spMkLst>
            <pc:docMk/>
            <pc:sldMk cId="1667945532" sldId="306"/>
            <ac:spMk id="4" creationId="{FE424811-9A99-46D3-9443-AAB22DAEAB5A}"/>
          </ac:spMkLst>
        </pc:spChg>
        <pc:spChg chg="mod">
          <ac:chgData name="Meyer Raphael (KOM-PGA-VSF)" userId="79615dfe-ed48-4e74-a40f-4f7b034c1c27" providerId="ADAL" clId="{96D77013-12DF-4911-886E-DED6CCA30677}" dt="2020-11-17T15:44:21.851" v="2342" actId="14100"/>
          <ac:spMkLst>
            <pc:docMk/>
            <pc:sldMk cId="1667945532" sldId="306"/>
            <ac:spMk id="7" creationId="{BA3F9A72-0541-4D1F-8CD8-1C2B8074FA1B}"/>
          </ac:spMkLst>
        </pc:spChg>
        <pc:spChg chg="add mod">
          <ac:chgData name="Meyer Raphael (KOM-PGA-VSF)" userId="79615dfe-ed48-4e74-a40f-4f7b034c1c27" providerId="ADAL" clId="{96D77013-12DF-4911-886E-DED6CCA30677}" dt="2020-12-16T09:58:22.958" v="3947" actId="20577"/>
          <ac:spMkLst>
            <pc:docMk/>
            <pc:sldMk cId="1667945532" sldId="306"/>
            <ac:spMk id="8" creationId="{5857C2A1-2CB8-4D4A-AEFD-E809BF73D04F}"/>
          </ac:spMkLst>
        </pc:spChg>
        <pc:spChg chg="mod">
          <ac:chgData name="Meyer Raphael (KOM-PGA-VSF)" userId="79615dfe-ed48-4e74-a40f-4f7b034c1c27" providerId="ADAL" clId="{96D77013-12DF-4911-886E-DED6CCA30677}" dt="2020-11-17T15:44:24.993" v="2343" actId="14100"/>
          <ac:spMkLst>
            <pc:docMk/>
            <pc:sldMk cId="1667945532" sldId="306"/>
            <ac:spMk id="9" creationId="{B6990B61-32B2-4ADC-BF01-EDF7B4080F97}"/>
          </ac:spMkLst>
        </pc:spChg>
        <pc:spChg chg="mod">
          <ac:chgData name="Meyer Raphael (KOM-PGA-VSF)" userId="79615dfe-ed48-4e74-a40f-4f7b034c1c27" providerId="ADAL" clId="{96D77013-12DF-4911-886E-DED6CCA30677}" dt="2020-11-17T15:02:01.973" v="1983" actId="20577"/>
          <ac:spMkLst>
            <pc:docMk/>
            <pc:sldMk cId="1667945532" sldId="306"/>
            <ac:spMk id="10" creationId="{077DFD58-E5EE-4B68-9325-D935DB04DD40}"/>
          </ac:spMkLst>
        </pc:spChg>
        <pc:spChg chg="add del mod">
          <ac:chgData name="Meyer Raphael (KOM-PGA-VSF)" userId="79615dfe-ed48-4e74-a40f-4f7b034c1c27" providerId="ADAL" clId="{96D77013-12DF-4911-886E-DED6CCA30677}" dt="2020-11-17T13:09:54.211" v="1646" actId="478"/>
          <ac:spMkLst>
            <pc:docMk/>
            <pc:sldMk cId="1667945532" sldId="306"/>
            <ac:spMk id="12" creationId="{C0AB8CF7-2416-4D54-AB32-055AE806E5A6}"/>
          </ac:spMkLst>
        </pc:spChg>
        <pc:spChg chg="del mod">
          <ac:chgData name="Meyer Raphael (KOM-PGA-VSF)" userId="79615dfe-ed48-4e74-a40f-4f7b034c1c27" providerId="ADAL" clId="{96D77013-12DF-4911-886E-DED6CCA30677}" dt="2020-11-17T14:51:36.450" v="1796" actId="478"/>
          <ac:spMkLst>
            <pc:docMk/>
            <pc:sldMk cId="1667945532" sldId="306"/>
            <ac:spMk id="13" creationId="{5F25AD10-BAC9-4E8D-A3B3-3F3B37120D18}"/>
          </ac:spMkLst>
        </pc:spChg>
        <pc:spChg chg="del mod">
          <ac:chgData name="Meyer Raphael (KOM-PGA-VSF)" userId="79615dfe-ed48-4e74-a40f-4f7b034c1c27" providerId="ADAL" clId="{96D77013-12DF-4911-886E-DED6CCA30677}" dt="2020-11-17T13:09:51.552" v="1645" actId="478"/>
          <ac:spMkLst>
            <pc:docMk/>
            <pc:sldMk cId="1667945532" sldId="306"/>
            <ac:spMk id="15" creationId="{BF705243-783E-4A9E-B41E-B5E5E3EC1E51}"/>
          </ac:spMkLst>
        </pc:spChg>
        <pc:spChg chg="add mod">
          <ac:chgData name="Meyer Raphael (KOM-PGA-VSF)" userId="79615dfe-ed48-4e74-a40f-4f7b034c1c27" providerId="ADAL" clId="{96D77013-12DF-4911-886E-DED6CCA30677}" dt="2020-12-02T10:35:42.248" v="3445" actId="20577"/>
          <ac:spMkLst>
            <pc:docMk/>
            <pc:sldMk cId="1667945532" sldId="306"/>
            <ac:spMk id="17" creationId="{785E740C-F94A-4208-8DFD-63A603C16577}"/>
          </ac:spMkLst>
        </pc:spChg>
        <pc:spChg chg="add del mod">
          <ac:chgData name="Meyer Raphael (KOM-PGA-VSF)" userId="79615dfe-ed48-4e74-a40f-4f7b034c1c27" providerId="ADAL" clId="{96D77013-12DF-4911-886E-DED6CCA30677}" dt="2020-11-17T13:03:26.510" v="1514" actId="478"/>
          <ac:spMkLst>
            <pc:docMk/>
            <pc:sldMk cId="1667945532" sldId="306"/>
            <ac:spMk id="20" creationId="{3EA94C09-EBAD-4FD8-A84A-06FAD3CA5180}"/>
          </ac:spMkLst>
        </pc:spChg>
        <pc:spChg chg="add del mod">
          <ac:chgData name="Meyer Raphael (KOM-PGA-VSF)" userId="79615dfe-ed48-4e74-a40f-4f7b034c1c27" providerId="ADAL" clId="{96D77013-12DF-4911-886E-DED6CCA30677}" dt="2020-11-17T13:12:42.381" v="1669" actId="478"/>
          <ac:spMkLst>
            <pc:docMk/>
            <pc:sldMk cId="1667945532" sldId="306"/>
            <ac:spMk id="21" creationId="{80894E3A-2E77-4BAF-BEB8-AB3C5CCC1544}"/>
          </ac:spMkLst>
        </pc:spChg>
        <pc:spChg chg="add del mod">
          <ac:chgData name="Meyer Raphael (KOM-PGA-VSF)" userId="79615dfe-ed48-4e74-a40f-4f7b034c1c27" providerId="ADAL" clId="{96D77013-12DF-4911-886E-DED6CCA30677}" dt="2020-12-02T10:44:17.053" v="3560" actId="478"/>
          <ac:spMkLst>
            <pc:docMk/>
            <pc:sldMk cId="1667945532" sldId="306"/>
            <ac:spMk id="21" creationId="{EC5D28F0-DE30-4BF9-9229-A24B6644F176}"/>
          </ac:spMkLst>
        </pc:spChg>
        <pc:spChg chg="add">
          <ac:chgData name="Meyer Raphael (KOM-PGA-VSF)" userId="79615dfe-ed48-4e74-a40f-4f7b034c1c27" providerId="ADAL" clId="{96D77013-12DF-4911-886E-DED6CCA30677}" dt="2020-11-18T15:11:18.219" v="3073"/>
          <ac:spMkLst>
            <pc:docMk/>
            <pc:sldMk cId="1667945532" sldId="306"/>
            <ac:spMk id="22" creationId="{A4D052E9-A3D0-4D29-96C0-4125FCB1567B}"/>
          </ac:spMkLst>
        </pc:spChg>
        <pc:spChg chg="add del">
          <ac:chgData name="Meyer Raphael (KOM-PGA-VSF)" userId="79615dfe-ed48-4e74-a40f-4f7b034c1c27" providerId="ADAL" clId="{96D77013-12DF-4911-886E-DED6CCA30677}" dt="2020-11-18T15:14:28.235" v="3184" actId="478"/>
          <ac:spMkLst>
            <pc:docMk/>
            <pc:sldMk cId="1667945532" sldId="306"/>
            <ac:spMk id="23" creationId="{06416C42-B092-4029-992D-975ADB124450}"/>
          </ac:spMkLst>
        </pc:spChg>
        <pc:spChg chg="add">
          <ac:chgData name="Meyer Raphael (KOM-PGA-VSF)" userId="79615dfe-ed48-4e74-a40f-4f7b034c1c27" providerId="ADAL" clId="{96D77013-12DF-4911-886E-DED6CCA30677}" dt="2020-11-18T15:12:13.258" v="3123"/>
          <ac:spMkLst>
            <pc:docMk/>
            <pc:sldMk cId="1667945532" sldId="306"/>
            <ac:spMk id="25" creationId="{9772D52D-035A-4D28-AE3A-4F5DD2C31620}"/>
          </ac:spMkLst>
        </pc:spChg>
        <pc:spChg chg="add mod">
          <ac:chgData name="Meyer Raphael (KOM-PGA-VSF)" userId="79615dfe-ed48-4e74-a40f-4f7b034c1c27" providerId="ADAL" clId="{96D77013-12DF-4911-886E-DED6CCA30677}" dt="2020-12-02T10:37:49.648" v="3466" actId="20577"/>
          <ac:spMkLst>
            <pc:docMk/>
            <pc:sldMk cId="1667945532" sldId="306"/>
            <ac:spMk id="26" creationId="{BFD498B5-D73E-4C8A-9FAF-B3547647538C}"/>
          </ac:spMkLst>
        </pc:spChg>
        <pc:spChg chg="add mod">
          <ac:chgData name="Meyer Raphael (KOM-PGA-VSF)" userId="79615dfe-ed48-4e74-a40f-4f7b034c1c27" providerId="ADAL" clId="{96D77013-12DF-4911-886E-DED6CCA30677}" dt="2020-12-16T09:59:28.110" v="3955" actId="20577"/>
          <ac:spMkLst>
            <pc:docMk/>
            <pc:sldMk cId="1667945532" sldId="306"/>
            <ac:spMk id="27" creationId="{46A6B042-39EE-4A58-BBAA-13D52264B660}"/>
          </ac:spMkLst>
        </pc:spChg>
        <pc:spChg chg="add mod">
          <ac:chgData name="Meyer Raphael (KOM-PGA-VSF)" userId="79615dfe-ed48-4e74-a40f-4f7b034c1c27" providerId="ADAL" clId="{96D77013-12DF-4911-886E-DED6CCA30677}" dt="2020-12-09T12:09:49.306" v="3771" actId="1036"/>
          <ac:spMkLst>
            <pc:docMk/>
            <pc:sldMk cId="1667945532" sldId="306"/>
            <ac:spMk id="28" creationId="{4492A3CD-6943-423D-BFEC-8129889E8B6F}"/>
          </ac:spMkLst>
        </pc:spChg>
        <pc:spChg chg="add mod">
          <ac:chgData name="Meyer Raphael (KOM-PGA-VSF)" userId="79615dfe-ed48-4e74-a40f-4f7b034c1c27" providerId="ADAL" clId="{96D77013-12DF-4911-886E-DED6CCA30677}" dt="2020-12-16T09:59:59.619" v="3967" actId="20577"/>
          <ac:spMkLst>
            <pc:docMk/>
            <pc:sldMk cId="1667945532" sldId="306"/>
            <ac:spMk id="31" creationId="{7491A47D-CAD4-478D-8F3A-296FFCB799F9}"/>
          </ac:spMkLst>
        </pc:spChg>
        <pc:spChg chg="add mod">
          <ac:chgData name="Meyer Raphael (KOM-PGA-VSF)" userId="79615dfe-ed48-4e74-a40f-4f7b034c1c27" providerId="ADAL" clId="{96D77013-12DF-4911-886E-DED6CCA30677}" dt="2020-12-09T12:09:54.037" v="3773" actId="1035"/>
          <ac:spMkLst>
            <pc:docMk/>
            <pc:sldMk cId="1667945532" sldId="306"/>
            <ac:spMk id="32" creationId="{E65DDA4F-7190-4D5B-B875-6818D18C9F6E}"/>
          </ac:spMkLst>
        </pc:spChg>
        <pc:spChg chg="add del mod">
          <ac:chgData name="Meyer Raphael (KOM-PGA-VSF)" userId="79615dfe-ed48-4e74-a40f-4f7b034c1c27" providerId="ADAL" clId="{96D77013-12DF-4911-886E-DED6CCA30677}" dt="2020-12-02T10:44:19.934" v="3561" actId="478"/>
          <ac:spMkLst>
            <pc:docMk/>
            <pc:sldMk cId="1667945532" sldId="306"/>
            <ac:spMk id="33" creationId="{18E4FD3A-0462-4CBE-B9ED-76EFB02AE0FB}"/>
          </ac:spMkLst>
        </pc:spChg>
        <pc:spChg chg="add mod">
          <ac:chgData name="Meyer Raphael (KOM-PGA-VSF)" userId="79615dfe-ed48-4e74-a40f-4f7b034c1c27" providerId="ADAL" clId="{96D77013-12DF-4911-886E-DED6CCA30677}" dt="2020-12-09T12:13:19.236" v="3865" actId="552"/>
          <ac:spMkLst>
            <pc:docMk/>
            <pc:sldMk cId="1667945532" sldId="306"/>
            <ac:spMk id="33" creationId="{A80F7DEC-022D-4493-8CDE-E61BC06E6C43}"/>
          </ac:spMkLst>
        </pc:spChg>
        <pc:spChg chg="add del">
          <ac:chgData name="Meyer Raphael (KOM-PGA-VSF)" userId="79615dfe-ed48-4e74-a40f-4f7b034c1c27" providerId="ADAL" clId="{96D77013-12DF-4911-886E-DED6CCA30677}" dt="2020-12-09T12:13:13.665" v="3864" actId="478"/>
          <ac:spMkLst>
            <pc:docMk/>
            <pc:sldMk cId="1667945532" sldId="306"/>
            <ac:spMk id="36" creationId="{7F8EE637-C350-4297-B59F-C99D86881D09}"/>
          </ac:spMkLst>
        </pc:spChg>
        <pc:spChg chg="add mod">
          <ac:chgData name="Meyer Raphael (KOM-PGA-VSF)" userId="79615dfe-ed48-4e74-a40f-4f7b034c1c27" providerId="ADAL" clId="{96D77013-12DF-4911-886E-DED6CCA30677}" dt="2020-12-09T12:13:19.236" v="3865" actId="552"/>
          <ac:spMkLst>
            <pc:docMk/>
            <pc:sldMk cId="1667945532" sldId="306"/>
            <ac:spMk id="37" creationId="{16628D91-C37D-41C8-A84A-DDEB3E2C1246}"/>
          </ac:spMkLst>
        </pc:spChg>
        <pc:graphicFrameChg chg="mod">
          <ac:chgData name="Meyer Raphael (KOM-PGA-VSF)" userId="79615dfe-ed48-4e74-a40f-4f7b034c1c27" providerId="ADAL" clId="{96D77013-12DF-4911-886E-DED6CCA30677}" dt="2020-11-18T09:44:31.799" v="2656" actId="14100"/>
          <ac:graphicFrameMkLst>
            <pc:docMk/>
            <pc:sldMk cId="1667945532" sldId="306"/>
            <ac:graphicFrameMk id="5" creationId="{4CF6AB8B-CAB9-4C7E-8E59-E00357A4D7F0}"/>
          </ac:graphicFrameMkLst>
        </pc:graphicFrameChg>
        <pc:graphicFrameChg chg="add mod">
          <ac:chgData name="Meyer Raphael (KOM-PGA-VSF)" userId="79615dfe-ed48-4e74-a40f-4f7b034c1c27" providerId="ADAL" clId="{96D77013-12DF-4911-886E-DED6CCA30677}" dt="2020-11-18T10:16:57.599" v="2821" actId="14100"/>
          <ac:graphicFrameMkLst>
            <pc:docMk/>
            <pc:sldMk cId="1667945532" sldId="306"/>
            <ac:graphicFrameMk id="24" creationId="{B6049B58-D743-4BF8-ADBD-2CBD12961E56}"/>
          </ac:graphicFrameMkLst>
        </pc:graphicFrameChg>
        <pc:cxnChg chg="del mod">
          <ac:chgData name="Meyer Raphael (KOM-PGA-VSF)" userId="79615dfe-ed48-4e74-a40f-4f7b034c1c27" providerId="ADAL" clId="{96D77013-12DF-4911-886E-DED6CCA30677}" dt="2020-11-17T14:51:38.775" v="1797" actId="478"/>
          <ac:cxnSpMkLst>
            <pc:docMk/>
            <pc:sldMk cId="1667945532" sldId="306"/>
            <ac:cxnSpMk id="4" creationId="{5A6D5A69-1622-463F-9124-B6EF867D5DE3}"/>
          </ac:cxnSpMkLst>
        </pc:cxnChg>
        <pc:cxnChg chg="add del mod">
          <ac:chgData name="Meyer Raphael (KOM-PGA-VSF)" userId="79615dfe-ed48-4e74-a40f-4f7b034c1c27" providerId="ADAL" clId="{96D77013-12DF-4911-886E-DED6CCA30677}" dt="2020-11-17T13:09:55.053" v="1647" actId="478"/>
          <ac:cxnSpMkLst>
            <pc:docMk/>
            <pc:sldMk cId="1667945532" sldId="306"/>
            <ac:cxnSpMk id="11" creationId="{F0BE3543-AEF4-415A-9124-1C616B189F81}"/>
          </ac:cxnSpMkLst>
        </pc:cxnChg>
        <pc:cxnChg chg="del mod">
          <ac:chgData name="Meyer Raphael (KOM-PGA-VSF)" userId="79615dfe-ed48-4e74-a40f-4f7b034c1c27" providerId="ADAL" clId="{96D77013-12DF-4911-886E-DED6CCA30677}" dt="2020-11-17T13:09:56.442" v="1648" actId="478"/>
          <ac:cxnSpMkLst>
            <pc:docMk/>
            <pc:sldMk cId="1667945532" sldId="306"/>
            <ac:cxnSpMk id="14" creationId="{0074DA36-AC1B-434E-8C33-ED084765FD3B}"/>
          </ac:cxnSpMkLst>
        </pc:cxnChg>
        <pc:cxnChg chg="add del mod">
          <ac:chgData name="Meyer Raphael (KOM-PGA-VSF)" userId="79615dfe-ed48-4e74-a40f-4f7b034c1c27" providerId="ADAL" clId="{96D77013-12DF-4911-886E-DED6CCA30677}" dt="2020-11-17T15:43:31.702" v="2321" actId="478"/>
          <ac:cxnSpMkLst>
            <pc:docMk/>
            <pc:sldMk cId="1667945532" sldId="306"/>
            <ac:cxnSpMk id="16" creationId="{280725AD-C395-4922-832F-FD4C3310F595}"/>
          </ac:cxnSpMkLst>
        </pc:cxnChg>
        <pc:cxnChg chg="add mod">
          <ac:chgData name="Meyer Raphael (KOM-PGA-VSF)" userId="79615dfe-ed48-4e74-a40f-4f7b034c1c27" providerId="ADAL" clId="{96D77013-12DF-4911-886E-DED6CCA30677}" dt="2020-12-09T12:10:24.727" v="3809" actId="1036"/>
          <ac:cxnSpMkLst>
            <pc:docMk/>
            <pc:sldMk cId="1667945532" sldId="306"/>
            <ac:cxnSpMk id="20" creationId="{07FCC63F-5E2F-43DF-84ED-5FFEC92A0042}"/>
          </ac:cxnSpMkLst>
        </pc:cxnChg>
        <pc:cxnChg chg="add del mod">
          <ac:chgData name="Meyer Raphael (KOM-PGA-VSF)" userId="79615dfe-ed48-4e74-a40f-4f7b034c1c27" providerId="ADAL" clId="{96D77013-12DF-4911-886E-DED6CCA30677}" dt="2020-11-17T15:43:42.715" v="2325" actId="478"/>
          <ac:cxnSpMkLst>
            <pc:docMk/>
            <pc:sldMk cId="1667945532" sldId="306"/>
            <ac:cxnSpMk id="25" creationId="{EAF4DE04-6573-422B-B20F-1FB0A1E25FDF}"/>
          </ac:cxnSpMkLst>
        </pc:cxnChg>
        <pc:cxnChg chg="add mod ord">
          <ac:chgData name="Meyer Raphael (KOM-PGA-VSF)" userId="79615dfe-ed48-4e74-a40f-4f7b034c1c27" providerId="ADAL" clId="{96D77013-12DF-4911-886E-DED6CCA30677}" dt="2020-12-09T12:07:34.149" v="3739" actId="1038"/>
          <ac:cxnSpMkLst>
            <pc:docMk/>
            <pc:sldMk cId="1667945532" sldId="306"/>
            <ac:cxnSpMk id="29" creationId="{FD3E902F-283F-48FC-9504-FF2FF4EA4BF0}"/>
          </ac:cxnSpMkLst>
        </pc:cxnChg>
        <pc:cxnChg chg="add mod ord">
          <ac:chgData name="Meyer Raphael (KOM-PGA-VSF)" userId="79615dfe-ed48-4e74-a40f-4f7b034c1c27" providerId="ADAL" clId="{96D77013-12DF-4911-886E-DED6CCA30677}" dt="2020-12-09T12:15:56.104" v="3887" actId="1035"/>
          <ac:cxnSpMkLst>
            <pc:docMk/>
            <pc:sldMk cId="1667945532" sldId="306"/>
            <ac:cxnSpMk id="30" creationId="{1D702FCA-793F-404B-84D5-F14C318BFFB3}"/>
          </ac:cxnSpMkLst>
        </pc:cxnChg>
        <pc:cxnChg chg="add del mod ord">
          <ac:chgData name="Meyer Raphael (KOM-PGA-VSF)" userId="79615dfe-ed48-4e74-a40f-4f7b034c1c27" providerId="ADAL" clId="{96D77013-12DF-4911-886E-DED6CCA30677}" dt="2020-11-17T15:41:23.497" v="2205" actId="478"/>
          <ac:cxnSpMkLst>
            <pc:docMk/>
            <pc:sldMk cId="1667945532" sldId="306"/>
            <ac:cxnSpMk id="33" creationId="{E42D3DA0-BF68-4237-88F8-23A5AEB7A3E9}"/>
          </ac:cxnSpMkLst>
        </pc:cxnChg>
        <pc:cxnChg chg="add mod">
          <ac:chgData name="Meyer Raphael (KOM-PGA-VSF)" userId="79615dfe-ed48-4e74-a40f-4f7b034c1c27" providerId="ADAL" clId="{96D77013-12DF-4911-886E-DED6CCA30677}" dt="2020-11-18T09:42:24.399" v="2643" actId="14100"/>
          <ac:cxnSpMkLst>
            <pc:docMk/>
            <pc:sldMk cId="1667945532" sldId="306"/>
            <ac:cxnSpMk id="34" creationId="{A28D3A8B-AB11-4B3B-BFD6-FCBA3464228F}"/>
          </ac:cxnSpMkLst>
        </pc:cxnChg>
        <pc:cxnChg chg="add mod">
          <ac:chgData name="Meyer Raphael (KOM-PGA-VSF)" userId="79615dfe-ed48-4e74-a40f-4f7b034c1c27" providerId="ADAL" clId="{96D77013-12DF-4911-886E-DED6CCA30677}" dt="2020-11-18T10:20:58.342" v="2832" actId="1036"/>
          <ac:cxnSpMkLst>
            <pc:docMk/>
            <pc:sldMk cId="1667945532" sldId="306"/>
            <ac:cxnSpMk id="35" creationId="{3D7E9771-61D5-497A-8FCF-1D1BB3A3C724}"/>
          </ac:cxnSpMkLst>
        </pc:cxnChg>
      </pc:sldChg>
      <pc:sldChg chg="addSp delSp modSp add del ord">
        <pc:chgData name="Meyer Raphael (KOM-PGA-VSF)" userId="79615dfe-ed48-4e74-a40f-4f7b034c1c27" providerId="ADAL" clId="{96D77013-12DF-4911-886E-DED6CCA30677}" dt="2020-11-25T13:55:00.189" v="3366" actId="2696"/>
        <pc:sldMkLst>
          <pc:docMk/>
          <pc:sldMk cId="670071235" sldId="307"/>
        </pc:sldMkLst>
        <pc:spChg chg="mod">
          <ac:chgData name="Meyer Raphael (KOM-PGA-VSF)" userId="79615dfe-ed48-4e74-a40f-4f7b034c1c27" providerId="ADAL" clId="{96D77013-12DF-4911-886E-DED6CCA30677}" dt="2020-11-18T14:53:54.548" v="2933" actId="6549"/>
          <ac:spMkLst>
            <pc:docMk/>
            <pc:sldMk cId="670071235" sldId="307"/>
            <ac:spMk id="2" creationId="{A2DC317F-F1F4-4624-8FC1-3B68C1DBB3DA}"/>
          </ac:spMkLst>
        </pc:spChg>
        <pc:spChg chg="add del mod">
          <ac:chgData name="Meyer Raphael (KOM-PGA-VSF)" userId="79615dfe-ed48-4e74-a40f-4f7b034c1c27" providerId="ADAL" clId="{96D77013-12DF-4911-886E-DED6CCA30677}" dt="2020-11-18T14:57:23.910" v="2989" actId="478"/>
          <ac:spMkLst>
            <pc:docMk/>
            <pc:sldMk cId="670071235" sldId="307"/>
            <ac:spMk id="3" creationId="{34D60BEB-E3B1-4159-A206-E918FDA375C1}"/>
          </ac:spMkLst>
        </pc:spChg>
        <pc:spChg chg="mod">
          <ac:chgData name="Meyer Raphael (KOM-PGA-VSF)" userId="79615dfe-ed48-4e74-a40f-4f7b034c1c27" providerId="ADAL" clId="{96D77013-12DF-4911-886E-DED6CCA30677}" dt="2020-11-18T15:19:17.591" v="3192" actId="20577"/>
          <ac:spMkLst>
            <pc:docMk/>
            <pc:sldMk cId="670071235" sldId="307"/>
            <ac:spMk id="4" creationId="{FE424811-9A99-46D3-9443-AAB22DAEAB5A}"/>
          </ac:spMkLst>
        </pc:spChg>
        <pc:spChg chg="mod">
          <ac:chgData name="Meyer Raphael (KOM-PGA-VSF)" userId="79615dfe-ed48-4e74-a40f-4f7b034c1c27" providerId="ADAL" clId="{96D77013-12DF-4911-886E-DED6CCA30677}" dt="2020-11-18T14:56:41.707" v="2987"/>
          <ac:spMkLst>
            <pc:docMk/>
            <pc:sldMk cId="670071235" sldId="307"/>
            <ac:spMk id="7" creationId="{BA3F9A72-0541-4D1F-8CD8-1C2B8074FA1B}"/>
          </ac:spMkLst>
        </pc:spChg>
        <pc:spChg chg="mod">
          <ac:chgData name="Meyer Raphael (KOM-PGA-VSF)" userId="79615dfe-ed48-4e74-a40f-4f7b034c1c27" providerId="ADAL" clId="{96D77013-12DF-4911-886E-DED6CCA30677}" dt="2020-11-18T14:54:53.280" v="2977" actId="1036"/>
          <ac:spMkLst>
            <pc:docMk/>
            <pc:sldMk cId="670071235" sldId="307"/>
            <ac:spMk id="8" creationId="{5857C2A1-2CB8-4D4A-AEFD-E809BF73D04F}"/>
          </ac:spMkLst>
        </pc:spChg>
        <pc:spChg chg="mod">
          <ac:chgData name="Meyer Raphael (KOM-PGA-VSF)" userId="79615dfe-ed48-4e74-a40f-4f7b034c1c27" providerId="ADAL" clId="{96D77013-12DF-4911-886E-DED6CCA30677}" dt="2020-11-18T14:57:08.797" v="2988"/>
          <ac:spMkLst>
            <pc:docMk/>
            <pc:sldMk cId="670071235" sldId="307"/>
            <ac:spMk id="9" creationId="{B6990B61-32B2-4ADC-BF01-EDF7B4080F97}"/>
          </ac:spMkLst>
        </pc:spChg>
        <pc:spChg chg="mod">
          <ac:chgData name="Meyer Raphael (KOM-PGA-VSF)" userId="79615dfe-ed48-4e74-a40f-4f7b034c1c27" providerId="ADAL" clId="{96D77013-12DF-4911-886E-DED6CCA30677}" dt="2020-11-18T14:54:09.512" v="2936" actId="6549"/>
          <ac:spMkLst>
            <pc:docMk/>
            <pc:sldMk cId="670071235" sldId="307"/>
            <ac:spMk id="10" creationId="{077DFD58-E5EE-4B68-9325-D935DB04DD40}"/>
          </ac:spMkLst>
        </pc:spChg>
        <pc:spChg chg="mod">
          <ac:chgData name="Meyer Raphael (KOM-PGA-VSF)" userId="79615dfe-ed48-4e74-a40f-4f7b034c1c27" providerId="ADAL" clId="{96D77013-12DF-4911-886E-DED6CCA30677}" dt="2020-11-18T14:56:07.814" v="2984" actId="6549"/>
          <ac:spMkLst>
            <pc:docMk/>
            <pc:sldMk cId="670071235" sldId="307"/>
            <ac:spMk id="17" creationId="{785E740C-F94A-4208-8DFD-63A603C16577}"/>
          </ac:spMkLst>
        </pc:spChg>
        <pc:spChg chg="add del mod">
          <ac:chgData name="Meyer Raphael (KOM-PGA-VSF)" userId="79615dfe-ed48-4e74-a40f-4f7b034c1c27" providerId="ADAL" clId="{96D77013-12DF-4911-886E-DED6CCA30677}" dt="2020-11-18T15:13:42.769" v="3135" actId="478"/>
          <ac:spMkLst>
            <pc:docMk/>
            <pc:sldMk cId="670071235" sldId="307"/>
            <ac:spMk id="23" creationId="{27E9F276-A13F-47E6-8402-2CF9F5A375C3}"/>
          </ac:spMkLst>
        </pc:spChg>
        <pc:spChg chg="add">
          <ac:chgData name="Meyer Raphael (KOM-PGA-VSF)" userId="79615dfe-ed48-4e74-a40f-4f7b034c1c27" providerId="ADAL" clId="{96D77013-12DF-4911-886E-DED6CCA30677}" dt="2020-11-18T15:11:22.756" v="3074"/>
          <ac:spMkLst>
            <pc:docMk/>
            <pc:sldMk cId="670071235" sldId="307"/>
            <ac:spMk id="25" creationId="{B9CCF8AC-F3FB-4E3D-B7B7-6B939D110CFA}"/>
          </ac:spMkLst>
        </pc:spChg>
        <pc:spChg chg="mod">
          <ac:chgData name="Meyer Raphael (KOM-PGA-VSF)" userId="79615dfe-ed48-4e74-a40f-4f7b034c1c27" providerId="ADAL" clId="{96D77013-12DF-4911-886E-DED6CCA30677}" dt="2020-11-18T14:56:14.497" v="2986" actId="6549"/>
          <ac:spMkLst>
            <pc:docMk/>
            <pc:sldMk cId="670071235" sldId="307"/>
            <ac:spMk id="26" creationId="{BFD498B5-D73E-4C8A-9FAF-B3547647538C}"/>
          </ac:spMkLst>
        </pc:spChg>
        <pc:spChg chg="mod">
          <ac:chgData name="Meyer Raphael (KOM-PGA-VSF)" userId="79615dfe-ed48-4e74-a40f-4f7b034c1c27" providerId="ADAL" clId="{96D77013-12DF-4911-886E-DED6CCA30677}" dt="2020-11-18T14:55:32.658" v="2982" actId="14100"/>
          <ac:spMkLst>
            <pc:docMk/>
            <pc:sldMk cId="670071235" sldId="307"/>
            <ac:spMk id="27" creationId="{46A6B042-39EE-4A58-BBAA-13D52264B660}"/>
          </ac:spMkLst>
        </pc:spChg>
        <pc:spChg chg="add del mod">
          <ac:chgData name="Meyer Raphael (KOM-PGA-VSF)" userId="79615dfe-ed48-4e74-a40f-4f7b034c1c27" providerId="ADAL" clId="{96D77013-12DF-4911-886E-DED6CCA30677}" dt="2020-11-18T15:14:08.092" v="3178" actId="478"/>
          <ac:spMkLst>
            <pc:docMk/>
            <pc:sldMk cId="670071235" sldId="307"/>
            <ac:spMk id="33" creationId="{7A7A5E49-D0F2-4BD1-9628-6224FF24230C}"/>
          </ac:spMkLst>
        </pc:spChg>
        <pc:spChg chg="add mod">
          <ac:chgData name="Meyer Raphael (KOM-PGA-VSF)" userId="79615dfe-ed48-4e74-a40f-4f7b034c1c27" providerId="ADAL" clId="{96D77013-12DF-4911-886E-DED6CCA30677}" dt="2020-11-18T15:11:44.585" v="3114" actId="1038"/>
          <ac:spMkLst>
            <pc:docMk/>
            <pc:sldMk cId="670071235" sldId="307"/>
            <ac:spMk id="36" creationId="{7DD43DE4-C2C1-4271-A990-F4C41E0E0DAB}"/>
          </ac:spMkLst>
        </pc:spChg>
        <pc:spChg chg="add mod">
          <ac:chgData name="Meyer Raphael (KOM-PGA-VSF)" userId="79615dfe-ed48-4e74-a40f-4f7b034c1c27" providerId="ADAL" clId="{96D77013-12DF-4911-886E-DED6CCA30677}" dt="2020-11-18T15:52:18.472" v="3223" actId="20577"/>
          <ac:spMkLst>
            <pc:docMk/>
            <pc:sldMk cId="670071235" sldId="307"/>
            <ac:spMk id="37" creationId="{76E30C07-8435-4061-809C-53D7922D52B8}"/>
          </ac:spMkLst>
        </pc:spChg>
        <pc:spChg chg="add mod">
          <ac:chgData name="Meyer Raphael (KOM-PGA-VSF)" userId="79615dfe-ed48-4e74-a40f-4f7b034c1c27" providerId="ADAL" clId="{96D77013-12DF-4911-886E-DED6CCA30677}" dt="2020-11-18T15:52:21.852" v="3225" actId="20577"/>
          <ac:spMkLst>
            <pc:docMk/>
            <pc:sldMk cId="670071235" sldId="307"/>
            <ac:spMk id="38" creationId="{DE66F159-7628-42D1-ADAE-2EA0A294CF19}"/>
          </ac:spMkLst>
        </pc:spChg>
        <pc:cxnChg chg="mod">
          <ac:chgData name="Meyer Raphael (KOM-PGA-VSF)" userId="79615dfe-ed48-4e74-a40f-4f7b034c1c27" providerId="ADAL" clId="{96D77013-12DF-4911-886E-DED6CCA30677}" dt="2020-11-18T14:54:53.280" v="2977" actId="1036"/>
          <ac:cxnSpMkLst>
            <pc:docMk/>
            <pc:sldMk cId="670071235" sldId="307"/>
            <ac:cxnSpMk id="20" creationId="{07FCC63F-5E2F-43DF-84ED-5FFEC92A0042}"/>
          </ac:cxnSpMkLst>
        </pc:cxnChg>
      </pc:sldChg>
      <pc:sldChg chg="addSp modSp add del">
        <pc:chgData name="Meyer Raphael (KOM-PGA-VSF)" userId="79615dfe-ed48-4e74-a40f-4f7b034c1c27" providerId="ADAL" clId="{96D77013-12DF-4911-886E-DED6CCA30677}" dt="2020-11-18T10:37:29.365" v="2838" actId="2696"/>
        <pc:sldMkLst>
          <pc:docMk/>
          <pc:sldMk cId="4196972661" sldId="307"/>
        </pc:sldMkLst>
        <pc:spChg chg="add mod">
          <ac:chgData name="Meyer Raphael (KOM-PGA-VSF)" userId="79615dfe-ed48-4e74-a40f-4f7b034c1c27" providerId="ADAL" clId="{96D77013-12DF-4911-886E-DED6CCA30677}" dt="2020-11-18T09:54:12.470" v="2662" actId="20577"/>
          <ac:spMkLst>
            <pc:docMk/>
            <pc:sldMk cId="4196972661" sldId="307"/>
            <ac:spMk id="3" creationId="{5E0B0D67-4821-402E-B2AA-89F8238DA93A}"/>
          </ac:spMkLst>
        </pc:spChg>
        <pc:spChg chg="mod">
          <ac:chgData name="Meyer Raphael (KOM-PGA-VSF)" userId="79615dfe-ed48-4e74-a40f-4f7b034c1c27" providerId="ADAL" clId="{96D77013-12DF-4911-886E-DED6CCA30677}" dt="2020-11-18T09:59:30.927" v="2717"/>
          <ac:spMkLst>
            <pc:docMk/>
            <pc:sldMk cId="4196972661" sldId="307"/>
            <ac:spMk id="7" creationId="{BA3F9A72-0541-4D1F-8CD8-1C2B8074FA1B}"/>
          </ac:spMkLst>
        </pc:spChg>
        <pc:spChg chg="mod">
          <ac:chgData name="Meyer Raphael (KOM-PGA-VSF)" userId="79615dfe-ed48-4e74-a40f-4f7b034c1c27" providerId="ADAL" clId="{96D77013-12DF-4911-886E-DED6CCA30677}" dt="2020-11-18T09:59:22.365" v="2716"/>
          <ac:spMkLst>
            <pc:docMk/>
            <pc:sldMk cId="4196972661" sldId="307"/>
            <ac:spMk id="9" creationId="{B6990B61-32B2-4ADC-BF01-EDF7B4080F97}"/>
          </ac:spMkLst>
        </pc:spChg>
      </pc:sldChg>
      <pc:sldChg chg="addSp modSp add del">
        <pc:chgData name="Meyer Raphael (KOM-PGA-VSF)" userId="79615dfe-ed48-4e74-a40f-4f7b034c1c27" providerId="ADAL" clId="{96D77013-12DF-4911-886E-DED6CCA30677}" dt="2020-11-18T10:37:30.483" v="2839" actId="2696"/>
        <pc:sldMkLst>
          <pc:docMk/>
          <pc:sldMk cId="71469932" sldId="308"/>
        </pc:sldMkLst>
        <pc:spChg chg="mod">
          <ac:chgData name="Meyer Raphael (KOM-PGA-VSF)" userId="79615dfe-ed48-4e74-a40f-4f7b034c1c27" providerId="ADAL" clId="{96D77013-12DF-4911-886E-DED6CCA30677}" dt="2020-11-18T09:57:46.272" v="2714"/>
          <ac:spMkLst>
            <pc:docMk/>
            <pc:sldMk cId="71469932" sldId="308"/>
            <ac:spMk id="7" creationId="{BA3F9A72-0541-4D1F-8CD8-1C2B8074FA1B}"/>
          </ac:spMkLst>
        </pc:spChg>
        <pc:spChg chg="mod">
          <ac:chgData name="Meyer Raphael (KOM-PGA-VSF)" userId="79615dfe-ed48-4e74-a40f-4f7b034c1c27" providerId="ADAL" clId="{96D77013-12DF-4911-886E-DED6CCA30677}" dt="2020-11-18T09:58:02.325" v="2715"/>
          <ac:spMkLst>
            <pc:docMk/>
            <pc:sldMk cId="71469932" sldId="308"/>
            <ac:spMk id="9" creationId="{B6990B61-32B2-4ADC-BF01-EDF7B4080F97}"/>
          </ac:spMkLst>
        </pc:spChg>
        <pc:spChg chg="add mod">
          <ac:chgData name="Meyer Raphael (KOM-PGA-VSF)" userId="79615dfe-ed48-4e74-a40f-4f7b034c1c27" providerId="ADAL" clId="{96D77013-12DF-4911-886E-DED6CCA30677}" dt="2020-11-18T09:54:24.646" v="2667" actId="20577"/>
          <ac:spMkLst>
            <pc:docMk/>
            <pc:sldMk cId="71469932" sldId="308"/>
            <ac:spMk id="21" creationId="{8814E7B8-EA94-4246-9399-E7A06942A010}"/>
          </ac:spMkLst>
        </pc:spChg>
      </pc:sldChg>
      <pc:sldChg chg="addSp delSp modSp add del ord">
        <pc:chgData name="Meyer Raphael (KOM-PGA-VSF)" userId="79615dfe-ed48-4e74-a40f-4f7b034c1c27" providerId="ADAL" clId="{96D77013-12DF-4911-886E-DED6CCA30677}" dt="2020-11-25T13:52:26.962" v="3345" actId="2696"/>
        <pc:sldMkLst>
          <pc:docMk/>
          <pc:sldMk cId="1975790712" sldId="308"/>
        </pc:sldMkLst>
        <pc:spChg chg="mod">
          <ac:chgData name="Meyer Raphael (KOM-PGA-VSF)" userId="79615dfe-ed48-4e74-a40f-4f7b034c1c27" providerId="ADAL" clId="{96D77013-12DF-4911-886E-DED6CCA30677}" dt="2020-11-18T14:47:13.159" v="2853" actId="20577"/>
          <ac:spMkLst>
            <pc:docMk/>
            <pc:sldMk cId="1975790712" sldId="308"/>
            <ac:spMk id="2" creationId="{A2DC317F-F1F4-4624-8FC1-3B68C1DBB3DA}"/>
          </ac:spMkLst>
        </pc:spChg>
        <pc:spChg chg="mod">
          <ac:chgData name="Meyer Raphael (KOM-PGA-VSF)" userId="79615dfe-ed48-4e74-a40f-4f7b034c1c27" providerId="ADAL" clId="{96D77013-12DF-4911-886E-DED6CCA30677}" dt="2020-11-18T14:53:08.299" v="2930" actId="20577"/>
          <ac:spMkLst>
            <pc:docMk/>
            <pc:sldMk cId="1975790712" sldId="308"/>
            <ac:spMk id="4" creationId="{FE424811-9A99-46D3-9443-AAB22DAEAB5A}"/>
          </ac:spMkLst>
        </pc:spChg>
        <pc:spChg chg="mod">
          <ac:chgData name="Meyer Raphael (KOM-PGA-VSF)" userId="79615dfe-ed48-4e74-a40f-4f7b034c1c27" providerId="ADAL" clId="{96D77013-12DF-4911-886E-DED6CCA30677}" dt="2020-11-18T14:51:12.673" v="2923"/>
          <ac:spMkLst>
            <pc:docMk/>
            <pc:sldMk cId="1975790712" sldId="308"/>
            <ac:spMk id="7" creationId="{BA3F9A72-0541-4D1F-8CD8-1C2B8074FA1B}"/>
          </ac:spMkLst>
        </pc:spChg>
        <pc:spChg chg="mod">
          <ac:chgData name="Meyer Raphael (KOM-PGA-VSF)" userId="79615dfe-ed48-4e74-a40f-4f7b034c1c27" providerId="ADAL" clId="{96D77013-12DF-4911-886E-DED6CCA30677}" dt="2020-11-18T14:48:56.829" v="2910" actId="1035"/>
          <ac:spMkLst>
            <pc:docMk/>
            <pc:sldMk cId="1975790712" sldId="308"/>
            <ac:spMk id="8" creationId="{5857C2A1-2CB8-4D4A-AEFD-E809BF73D04F}"/>
          </ac:spMkLst>
        </pc:spChg>
        <pc:spChg chg="mod">
          <ac:chgData name="Meyer Raphael (KOM-PGA-VSF)" userId="79615dfe-ed48-4e74-a40f-4f7b034c1c27" providerId="ADAL" clId="{96D77013-12DF-4911-886E-DED6CCA30677}" dt="2020-11-18T14:51:26.380" v="2924"/>
          <ac:spMkLst>
            <pc:docMk/>
            <pc:sldMk cId="1975790712" sldId="308"/>
            <ac:spMk id="9" creationId="{B6990B61-32B2-4ADC-BF01-EDF7B4080F97}"/>
          </ac:spMkLst>
        </pc:spChg>
        <pc:spChg chg="mod">
          <ac:chgData name="Meyer Raphael (KOM-PGA-VSF)" userId="79615dfe-ed48-4e74-a40f-4f7b034c1c27" providerId="ADAL" clId="{96D77013-12DF-4911-886E-DED6CCA30677}" dt="2020-11-18T14:47:33.770" v="2854"/>
          <ac:spMkLst>
            <pc:docMk/>
            <pc:sldMk cId="1975790712" sldId="308"/>
            <ac:spMk id="10" creationId="{077DFD58-E5EE-4B68-9325-D935DB04DD40}"/>
          </ac:spMkLst>
        </pc:spChg>
        <pc:spChg chg="add del mod">
          <ac:chgData name="Meyer Raphael (KOM-PGA-VSF)" userId="79615dfe-ed48-4e74-a40f-4f7b034c1c27" providerId="ADAL" clId="{96D77013-12DF-4911-886E-DED6CCA30677}" dt="2020-11-18T15:13:36.281" v="3133" actId="478"/>
          <ac:spMkLst>
            <pc:docMk/>
            <pc:sldMk cId="1975790712" sldId="308"/>
            <ac:spMk id="13" creationId="{121AD503-6E65-43E8-A94F-36015FD02EF7}"/>
          </ac:spMkLst>
        </pc:spChg>
        <pc:spChg chg="add mod">
          <ac:chgData name="Meyer Raphael (KOM-PGA-VSF)" userId="79615dfe-ed48-4e74-a40f-4f7b034c1c27" providerId="ADAL" clId="{96D77013-12DF-4911-886E-DED6CCA30677}" dt="2020-11-18T15:11:07.250" v="3072" actId="208"/>
          <ac:spMkLst>
            <pc:docMk/>
            <pc:sldMk cId="1975790712" sldId="308"/>
            <ac:spMk id="14" creationId="{3D296224-CEDF-46A2-BFE7-E76379B44FC1}"/>
          </ac:spMkLst>
        </pc:spChg>
        <pc:spChg chg="mod">
          <ac:chgData name="Meyer Raphael (KOM-PGA-VSF)" userId="79615dfe-ed48-4e74-a40f-4f7b034c1c27" providerId="ADAL" clId="{96D77013-12DF-4911-886E-DED6CCA30677}" dt="2020-11-18T14:50:05.630" v="2920" actId="14100"/>
          <ac:spMkLst>
            <pc:docMk/>
            <pc:sldMk cId="1975790712" sldId="308"/>
            <ac:spMk id="17" creationId="{785E740C-F94A-4208-8DFD-63A603C16577}"/>
          </ac:spMkLst>
        </pc:spChg>
        <pc:spChg chg="add del">
          <ac:chgData name="Meyer Raphael (KOM-PGA-VSF)" userId="79615dfe-ed48-4e74-a40f-4f7b034c1c27" providerId="ADAL" clId="{96D77013-12DF-4911-886E-DED6CCA30677}" dt="2020-11-18T14:47:42.084" v="2855" actId="478"/>
          <ac:spMkLst>
            <pc:docMk/>
            <pc:sldMk cId="1975790712" sldId="308"/>
            <ac:spMk id="21" creationId="{99579156-7477-4472-B45A-CD9D145D7FD8}"/>
          </ac:spMkLst>
        </pc:spChg>
        <pc:spChg chg="mod">
          <ac:chgData name="Meyer Raphael (KOM-PGA-VSF)" userId="79615dfe-ed48-4e74-a40f-4f7b034c1c27" providerId="ADAL" clId="{96D77013-12DF-4911-886E-DED6CCA30677}" dt="2020-11-18T14:50:23.539" v="2922" actId="14100"/>
          <ac:spMkLst>
            <pc:docMk/>
            <pc:sldMk cId="1975790712" sldId="308"/>
            <ac:spMk id="26" creationId="{BFD498B5-D73E-4C8A-9FAF-B3547647538C}"/>
          </ac:spMkLst>
        </pc:spChg>
        <pc:spChg chg="mod">
          <ac:chgData name="Meyer Raphael (KOM-PGA-VSF)" userId="79615dfe-ed48-4e74-a40f-4f7b034c1c27" providerId="ADAL" clId="{96D77013-12DF-4911-886E-DED6CCA30677}" dt="2020-11-18T14:49:37.776" v="2918" actId="20577"/>
          <ac:spMkLst>
            <pc:docMk/>
            <pc:sldMk cId="1975790712" sldId="308"/>
            <ac:spMk id="27" creationId="{46A6B042-39EE-4A58-BBAA-13D52264B660}"/>
          </ac:spMkLst>
        </pc:spChg>
        <pc:spChg chg="add del">
          <ac:chgData name="Meyer Raphael (KOM-PGA-VSF)" userId="79615dfe-ed48-4e74-a40f-4f7b034c1c27" providerId="ADAL" clId="{96D77013-12DF-4911-886E-DED6CCA30677}" dt="2020-11-18T15:14:22.696" v="3183" actId="478"/>
          <ac:spMkLst>
            <pc:docMk/>
            <pc:sldMk cId="1975790712" sldId="308"/>
            <ac:spMk id="33" creationId="{E5EEE4DA-8649-489B-A535-47E830D074F3}"/>
          </ac:spMkLst>
        </pc:spChg>
        <pc:spChg chg="add">
          <ac:chgData name="Meyer Raphael (KOM-PGA-VSF)" userId="79615dfe-ed48-4e74-a40f-4f7b034c1c27" providerId="ADAL" clId="{96D77013-12DF-4911-886E-DED6CCA30677}" dt="2020-11-18T15:12:10.329" v="3122"/>
          <ac:spMkLst>
            <pc:docMk/>
            <pc:sldMk cId="1975790712" sldId="308"/>
            <ac:spMk id="36" creationId="{6F084887-239A-4C4D-A284-528B8CDF3D21}"/>
          </ac:spMkLst>
        </pc:spChg>
        <pc:spChg chg="add">
          <ac:chgData name="Meyer Raphael (KOM-PGA-VSF)" userId="79615dfe-ed48-4e74-a40f-4f7b034c1c27" providerId="ADAL" clId="{96D77013-12DF-4911-886E-DED6CCA30677}" dt="2020-11-18T15:13:37.652" v="3134"/>
          <ac:spMkLst>
            <pc:docMk/>
            <pc:sldMk cId="1975790712" sldId="308"/>
            <ac:spMk id="37" creationId="{8B41BC20-7E0B-4458-8CBF-8EAC2A462A07}"/>
          </ac:spMkLst>
        </pc:spChg>
        <pc:spChg chg="add">
          <ac:chgData name="Meyer Raphael (KOM-PGA-VSF)" userId="79615dfe-ed48-4e74-a40f-4f7b034c1c27" providerId="ADAL" clId="{96D77013-12DF-4911-886E-DED6CCA30677}" dt="2020-11-18T15:14:36.521" v="3185"/>
          <ac:spMkLst>
            <pc:docMk/>
            <pc:sldMk cId="1975790712" sldId="308"/>
            <ac:spMk id="38" creationId="{39113A41-E924-4E07-A7B6-998D5534AEED}"/>
          </ac:spMkLst>
        </pc:spChg>
        <pc:cxnChg chg="mod">
          <ac:chgData name="Meyer Raphael (KOM-PGA-VSF)" userId="79615dfe-ed48-4e74-a40f-4f7b034c1c27" providerId="ADAL" clId="{96D77013-12DF-4911-886E-DED6CCA30677}" dt="2020-11-18T14:48:56.829" v="2910" actId="1035"/>
          <ac:cxnSpMkLst>
            <pc:docMk/>
            <pc:sldMk cId="1975790712" sldId="308"/>
            <ac:cxnSpMk id="20" creationId="{07FCC63F-5E2F-43DF-84ED-5FFEC92A0042}"/>
          </ac:cxnSpMkLst>
        </pc:cxnChg>
      </pc:sldChg>
      <pc:sldChg chg="addSp delSp modSp add del ord">
        <pc:chgData name="Meyer Raphael (KOM-PGA-VSF)" userId="79615dfe-ed48-4e74-a40f-4f7b034c1c27" providerId="ADAL" clId="{96D77013-12DF-4911-886E-DED6CCA30677}" dt="2020-12-02T10:44:48.819" v="3563" actId="2696"/>
        <pc:sldMkLst>
          <pc:docMk/>
          <pc:sldMk cId="2741828430" sldId="309"/>
        </pc:sldMkLst>
        <pc:spChg chg="mod">
          <ac:chgData name="Meyer Raphael (KOM-PGA-VSF)" userId="79615dfe-ed48-4e74-a40f-4f7b034c1c27" providerId="ADAL" clId="{96D77013-12DF-4911-886E-DED6CCA30677}" dt="2020-11-25T13:49:49.387" v="3327"/>
          <ac:spMkLst>
            <pc:docMk/>
            <pc:sldMk cId="2741828430" sldId="309"/>
            <ac:spMk id="2" creationId="{A2DC317F-F1F4-4624-8FC1-3B68C1DBB3DA}"/>
          </ac:spMkLst>
        </pc:spChg>
        <pc:spChg chg="del">
          <ac:chgData name="Meyer Raphael (KOM-PGA-VSF)" userId="79615dfe-ed48-4e74-a40f-4f7b034c1c27" providerId="ADAL" clId="{96D77013-12DF-4911-886E-DED6CCA30677}" dt="2020-11-25T13:51:09.586" v="3337" actId="478"/>
          <ac:spMkLst>
            <pc:docMk/>
            <pc:sldMk cId="2741828430" sldId="309"/>
            <ac:spMk id="7" creationId="{BA3F9A72-0541-4D1F-8CD8-1C2B8074FA1B}"/>
          </ac:spMkLst>
        </pc:spChg>
        <pc:spChg chg="del mod">
          <ac:chgData name="Meyer Raphael (KOM-PGA-VSF)" userId="79615dfe-ed48-4e74-a40f-4f7b034c1c27" providerId="ADAL" clId="{96D77013-12DF-4911-886E-DED6CCA30677}" dt="2020-11-25T13:50:19.986" v="3331" actId="478"/>
          <ac:spMkLst>
            <pc:docMk/>
            <pc:sldMk cId="2741828430" sldId="309"/>
            <ac:spMk id="8" creationId="{5857C2A1-2CB8-4D4A-AEFD-E809BF73D04F}"/>
          </ac:spMkLst>
        </pc:spChg>
        <pc:spChg chg="del">
          <ac:chgData name="Meyer Raphael (KOM-PGA-VSF)" userId="79615dfe-ed48-4e74-a40f-4f7b034c1c27" providerId="ADAL" clId="{96D77013-12DF-4911-886E-DED6CCA30677}" dt="2020-11-25T13:51:11.701" v="3338" actId="478"/>
          <ac:spMkLst>
            <pc:docMk/>
            <pc:sldMk cId="2741828430" sldId="309"/>
            <ac:spMk id="9" creationId="{B6990B61-32B2-4ADC-BF01-EDF7B4080F97}"/>
          </ac:spMkLst>
        </pc:spChg>
        <pc:spChg chg="mod">
          <ac:chgData name="Meyer Raphael (KOM-PGA-VSF)" userId="79615dfe-ed48-4e74-a40f-4f7b034c1c27" providerId="ADAL" clId="{96D77013-12DF-4911-886E-DED6CCA30677}" dt="2020-11-25T13:50:02.100" v="3328"/>
          <ac:spMkLst>
            <pc:docMk/>
            <pc:sldMk cId="2741828430" sldId="309"/>
            <ac:spMk id="10" creationId="{077DFD58-E5EE-4B68-9325-D935DB04DD40}"/>
          </ac:spMkLst>
        </pc:spChg>
        <pc:spChg chg="del">
          <ac:chgData name="Meyer Raphael (KOM-PGA-VSF)" userId="79615dfe-ed48-4e74-a40f-4f7b034c1c27" providerId="ADAL" clId="{96D77013-12DF-4911-886E-DED6CCA30677}" dt="2020-11-25T13:50:48.674" v="3333" actId="478"/>
          <ac:spMkLst>
            <pc:docMk/>
            <pc:sldMk cId="2741828430" sldId="309"/>
            <ac:spMk id="17" creationId="{785E740C-F94A-4208-8DFD-63A603C16577}"/>
          </ac:spMkLst>
        </pc:spChg>
        <pc:spChg chg="del">
          <ac:chgData name="Meyer Raphael (KOM-PGA-VSF)" userId="79615dfe-ed48-4e74-a40f-4f7b034c1c27" providerId="ADAL" clId="{96D77013-12DF-4911-886E-DED6CCA30677}" dt="2020-11-25T13:50:52.610" v="3334" actId="478"/>
          <ac:spMkLst>
            <pc:docMk/>
            <pc:sldMk cId="2741828430" sldId="309"/>
            <ac:spMk id="26" creationId="{BFD498B5-D73E-4C8A-9FAF-B3547647538C}"/>
          </ac:spMkLst>
        </pc:spChg>
        <pc:spChg chg="mod">
          <ac:chgData name="Meyer Raphael (KOM-PGA-VSF)" userId="79615dfe-ed48-4e74-a40f-4f7b034c1c27" providerId="ADAL" clId="{96D77013-12DF-4911-886E-DED6CCA30677}" dt="2020-11-25T13:51:38.376" v="3342" actId="20577"/>
          <ac:spMkLst>
            <pc:docMk/>
            <pc:sldMk cId="2741828430" sldId="309"/>
            <ac:spMk id="27" creationId="{46A6B042-39EE-4A58-BBAA-13D52264B660}"/>
          </ac:spMkLst>
        </pc:spChg>
        <pc:spChg chg="add mod">
          <ac:chgData name="Meyer Raphael (KOM-PGA-VSF)" userId="79615dfe-ed48-4e74-a40f-4f7b034c1c27" providerId="ADAL" clId="{96D77013-12DF-4911-886E-DED6CCA30677}" dt="2020-11-25T13:51:41.475" v="3344" actId="20577"/>
          <ac:spMkLst>
            <pc:docMk/>
            <pc:sldMk cId="2741828430" sldId="309"/>
            <ac:spMk id="36" creationId="{A96FB2EB-C301-41E3-B15B-4608A22A373C}"/>
          </ac:spMkLst>
        </pc:spChg>
        <pc:spChg chg="add">
          <ac:chgData name="Meyer Raphael (KOM-PGA-VSF)" userId="79615dfe-ed48-4e74-a40f-4f7b034c1c27" providerId="ADAL" clId="{96D77013-12DF-4911-886E-DED6CCA30677}" dt="2020-11-25T13:50:59.417" v="3335"/>
          <ac:spMkLst>
            <pc:docMk/>
            <pc:sldMk cId="2741828430" sldId="309"/>
            <ac:spMk id="38" creationId="{241F4442-6726-48A4-BEE8-7D910F3FB79E}"/>
          </ac:spMkLst>
        </pc:spChg>
        <pc:spChg chg="add">
          <ac:chgData name="Meyer Raphael (KOM-PGA-VSF)" userId="79615dfe-ed48-4e74-a40f-4f7b034c1c27" providerId="ADAL" clId="{96D77013-12DF-4911-886E-DED6CCA30677}" dt="2020-11-25T13:51:05.899" v="3336"/>
          <ac:spMkLst>
            <pc:docMk/>
            <pc:sldMk cId="2741828430" sldId="309"/>
            <ac:spMk id="39" creationId="{E415B116-C905-46F0-8016-0C05A3A014D5}"/>
          </ac:spMkLst>
        </pc:spChg>
        <pc:spChg chg="add">
          <ac:chgData name="Meyer Raphael (KOM-PGA-VSF)" userId="79615dfe-ed48-4e74-a40f-4f7b034c1c27" providerId="ADAL" clId="{96D77013-12DF-4911-886E-DED6CCA30677}" dt="2020-11-25T13:51:18.334" v="3339"/>
          <ac:spMkLst>
            <pc:docMk/>
            <pc:sldMk cId="2741828430" sldId="309"/>
            <ac:spMk id="40" creationId="{29296A36-EDC0-4C73-902A-B697A7B34BE0}"/>
          </ac:spMkLst>
        </pc:spChg>
        <pc:spChg chg="add">
          <ac:chgData name="Meyer Raphael (KOM-PGA-VSF)" userId="79615dfe-ed48-4e74-a40f-4f7b034c1c27" providerId="ADAL" clId="{96D77013-12DF-4911-886E-DED6CCA30677}" dt="2020-11-25T13:51:18.334" v="3339"/>
          <ac:spMkLst>
            <pc:docMk/>
            <pc:sldMk cId="2741828430" sldId="309"/>
            <ac:spMk id="41" creationId="{A3499DA5-248C-476D-B746-FC922512CD4D}"/>
          </ac:spMkLst>
        </pc:spChg>
        <pc:cxnChg chg="del mod">
          <ac:chgData name="Meyer Raphael (KOM-PGA-VSF)" userId="79615dfe-ed48-4e74-a40f-4f7b034c1c27" providerId="ADAL" clId="{96D77013-12DF-4911-886E-DED6CCA30677}" dt="2020-11-25T13:50:19.986" v="3331" actId="478"/>
          <ac:cxnSpMkLst>
            <pc:docMk/>
            <pc:sldMk cId="2741828430" sldId="309"/>
            <ac:cxnSpMk id="20" creationId="{07FCC63F-5E2F-43DF-84ED-5FFEC92A0042}"/>
          </ac:cxnSpMkLst>
        </pc:cxnChg>
        <pc:cxnChg chg="add">
          <ac:chgData name="Meyer Raphael (KOM-PGA-VSF)" userId="79615dfe-ed48-4e74-a40f-4f7b034c1c27" providerId="ADAL" clId="{96D77013-12DF-4911-886E-DED6CCA30677}" dt="2020-11-25T13:50:27.576" v="3332"/>
          <ac:cxnSpMkLst>
            <pc:docMk/>
            <pc:sldMk cId="2741828430" sldId="309"/>
            <ac:cxnSpMk id="37" creationId="{948518F9-577D-42C1-9238-0034DC1DB758}"/>
          </ac:cxnSpMkLst>
        </pc:cxnChg>
      </pc:sldChg>
      <pc:sldChg chg="addSp delSp modSp add del">
        <pc:chgData name="Meyer Raphael (KOM-PGA-VSF)" userId="79615dfe-ed48-4e74-a40f-4f7b034c1c27" providerId="ADAL" clId="{96D77013-12DF-4911-886E-DED6CCA30677}" dt="2020-12-02T10:50:02.199" v="3656" actId="2696"/>
        <pc:sldMkLst>
          <pc:docMk/>
          <pc:sldMk cId="1385239385" sldId="310"/>
        </pc:sldMkLst>
        <pc:spChg chg="mod">
          <ac:chgData name="Meyer Raphael (KOM-PGA-VSF)" userId="79615dfe-ed48-4e74-a40f-4f7b034c1c27" providerId="ADAL" clId="{96D77013-12DF-4911-886E-DED6CCA30677}" dt="2020-11-25T13:52:37.127" v="3346"/>
          <ac:spMkLst>
            <pc:docMk/>
            <pc:sldMk cId="1385239385" sldId="310"/>
            <ac:spMk id="2" creationId="{A2DC317F-F1F4-4624-8FC1-3B68C1DBB3DA}"/>
          </ac:spMkLst>
        </pc:spChg>
        <pc:spChg chg="del">
          <ac:chgData name="Meyer Raphael (KOM-PGA-VSF)" userId="79615dfe-ed48-4e74-a40f-4f7b034c1c27" providerId="ADAL" clId="{96D77013-12DF-4911-886E-DED6CCA30677}" dt="2020-11-25T13:52:59.815" v="3348" actId="478"/>
          <ac:spMkLst>
            <pc:docMk/>
            <pc:sldMk cId="1385239385" sldId="310"/>
            <ac:spMk id="7" creationId="{BA3F9A72-0541-4D1F-8CD8-1C2B8074FA1B}"/>
          </ac:spMkLst>
        </pc:spChg>
        <pc:spChg chg="del">
          <ac:chgData name="Meyer Raphael (KOM-PGA-VSF)" userId="79615dfe-ed48-4e74-a40f-4f7b034c1c27" providerId="ADAL" clId="{96D77013-12DF-4911-886E-DED6CCA30677}" dt="2020-11-25T13:53:15.694" v="3350" actId="478"/>
          <ac:spMkLst>
            <pc:docMk/>
            <pc:sldMk cId="1385239385" sldId="310"/>
            <ac:spMk id="8" creationId="{5857C2A1-2CB8-4D4A-AEFD-E809BF73D04F}"/>
          </ac:spMkLst>
        </pc:spChg>
        <pc:spChg chg="del">
          <ac:chgData name="Meyer Raphael (KOM-PGA-VSF)" userId="79615dfe-ed48-4e74-a40f-4f7b034c1c27" providerId="ADAL" clId="{96D77013-12DF-4911-886E-DED6CCA30677}" dt="2020-11-25T13:52:59.815" v="3348" actId="478"/>
          <ac:spMkLst>
            <pc:docMk/>
            <pc:sldMk cId="1385239385" sldId="310"/>
            <ac:spMk id="9" creationId="{B6990B61-32B2-4ADC-BF01-EDF7B4080F97}"/>
          </ac:spMkLst>
        </pc:spChg>
        <pc:spChg chg="mod">
          <ac:chgData name="Meyer Raphael (KOM-PGA-VSF)" userId="79615dfe-ed48-4e74-a40f-4f7b034c1c27" providerId="ADAL" clId="{96D77013-12DF-4911-886E-DED6CCA30677}" dt="2020-11-25T13:52:51.299" v="3347"/>
          <ac:spMkLst>
            <pc:docMk/>
            <pc:sldMk cId="1385239385" sldId="310"/>
            <ac:spMk id="10" creationId="{077DFD58-E5EE-4B68-9325-D935DB04DD40}"/>
          </ac:spMkLst>
        </pc:spChg>
        <pc:spChg chg="del">
          <ac:chgData name="Meyer Raphael (KOM-PGA-VSF)" userId="79615dfe-ed48-4e74-a40f-4f7b034c1c27" providerId="ADAL" clId="{96D77013-12DF-4911-886E-DED6CCA30677}" dt="2020-11-25T13:53:48.821" v="3358" actId="478"/>
          <ac:spMkLst>
            <pc:docMk/>
            <pc:sldMk cId="1385239385" sldId="310"/>
            <ac:spMk id="17" creationId="{785E740C-F94A-4208-8DFD-63A603C16577}"/>
          </ac:spMkLst>
        </pc:spChg>
        <pc:spChg chg="del">
          <ac:chgData name="Meyer Raphael (KOM-PGA-VSF)" userId="79615dfe-ed48-4e74-a40f-4f7b034c1c27" providerId="ADAL" clId="{96D77013-12DF-4911-886E-DED6CCA30677}" dt="2020-11-25T13:54:17.516" v="3361" actId="478"/>
          <ac:spMkLst>
            <pc:docMk/>
            <pc:sldMk cId="1385239385" sldId="310"/>
            <ac:spMk id="21" creationId="{EC5D28F0-DE30-4BF9-9229-A24B6644F176}"/>
          </ac:spMkLst>
        </pc:spChg>
        <pc:spChg chg="del">
          <ac:chgData name="Meyer Raphael (KOM-PGA-VSF)" userId="79615dfe-ed48-4e74-a40f-4f7b034c1c27" providerId="ADAL" clId="{96D77013-12DF-4911-886E-DED6CCA30677}" dt="2020-11-25T13:53:51.372" v="3359" actId="478"/>
          <ac:spMkLst>
            <pc:docMk/>
            <pc:sldMk cId="1385239385" sldId="310"/>
            <ac:spMk id="26" creationId="{BFD498B5-D73E-4C8A-9FAF-B3547647538C}"/>
          </ac:spMkLst>
        </pc:spChg>
        <pc:spChg chg="mod">
          <ac:chgData name="Meyer Raphael (KOM-PGA-VSF)" userId="79615dfe-ed48-4e74-a40f-4f7b034c1c27" providerId="ADAL" clId="{96D77013-12DF-4911-886E-DED6CCA30677}" dt="2020-12-02T10:49:37.600" v="3650" actId="6549"/>
          <ac:spMkLst>
            <pc:docMk/>
            <pc:sldMk cId="1385239385" sldId="310"/>
            <ac:spMk id="27" creationId="{46A6B042-39EE-4A58-BBAA-13D52264B660}"/>
          </ac:spMkLst>
        </pc:spChg>
        <pc:spChg chg="del">
          <ac:chgData name="Meyer Raphael (KOM-PGA-VSF)" userId="79615dfe-ed48-4e74-a40f-4f7b034c1c27" providerId="ADAL" clId="{96D77013-12DF-4911-886E-DED6CCA30677}" dt="2020-11-25T13:54:20.058" v="3362" actId="478"/>
          <ac:spMkLst>
            <pc:docMk/>
            <pc:sldMk cId="1385239385" sldId="310"/>
            <ac:spMk id="33" creationId="{18E4FD3A-0462-4CBE-B9ED-76EFB02AE0FB}"/>
          </ac:spMkLst>
        </pc:spChg>
        <pc:spChg chg="add">
          <ac:chgData name="Meyer Raphael (KOM-PGA-VSF)" userId="79615dfe-ed48-4e74-a40f-4f7b034c1c27" providerId="ADAL" clId="{96D77013-12DF-4911-886E-DED6CCA30677}" dt="2020-11-25T13:53:07.387" v="3349"/>
          <ac:spMkLst>
            <pc:docMk/>
            <pc:sldMk cId="1385239385" sldId="310"/>
            <ac:spMk id="36" creationId="{7DA1DF1C-8159-4505-BDFF-D45EC7FBC2C3}"/>
          </ac:spMkLst>
        </pc:spChg>
        <pc:spChg chg="add">
          <ac:chgData name="Meyer Raphael (KOM-PGA-VSF)" userId="79615dfe-ed48-4e74-a40f-4f7b034c1c27" providerId="ADAL" clId="{96D77013-12DF-4911-886E-DED6CCA30677}" dt="2020-11-25T13:53:07.387" v="3349"/>
          <ac:spMkLst>
            <pc:docMk/>
            <pc:sldMk cId="1385239385" sldId="310"/>
            <ac:spMk id="37" creationId="{589515B9-A7A2-4FF0-B377-CCD7DFF60257}"/>
          </ac:spMkLst>
        </pc:spChg>
        <pc:spChg chg="add mod">
          <ac:chgData name="Meyer Raphael (KOM-PGA-VSF)" userId="79615dfe-ed48-4e74-a40f-4f7b034c1c27" providerId="ADAL" clId="{96D77013-12DF-4911-886E-DED6CCA30677}" dt="2020-12-02T10:49:39.691" v="3652" actId="6549"/>
          <ac:spMkLst>
            <pc:docMk/>
            <pc:sldMk cId="1385239385" sldId="310"/>
            <ac:spMk id="38" creationId="{96C40311-7EB7-41CE-A9B8-02567E778346}"/>
          </ac:spMkLst>
        </pc:spChg>
        <pc:spChg chg="add">
          <ac:chgData name="Meyer Raphael (KOM-PGA-VSF)" userId="79615dfe-ed48-4e74-a40f-4f7b034c1c27" providerId="ADAL" clId="{96D77013-12DF-4911-886E-DED6CCA30677}" dt="2020-11-25T13:53:58.071" v="3360"/>
          <ac:spMkLst>
            <pc:docMk/>
            <pc:sldMk cId="1385239385" sldId="310"/>
            <ac:spMk id="40" creationId="{595B3D45-2978-44F6-BAA6-55091833E629}"/>
          </ac:spMkLst>
        </pc:spChg>
        <pc:spChg chg="add">
          <ac:chgData name="Meyer Raphael (KOM-PGA-VSF)" userId="79615dfe-ed48-4e74-a40f-4f7b034c1c27" providerId="ADAL" clId="{96D77013-12DF-4911-886E-DED6CCA30677}" dt="2020-11-25T13:53:58.071" v="3360"/>
          <ac:spMkLst>
            <pc:docMk/>
            <pc:sldMk cId="1385239385" sldId="310"/>
            <ac:spMk id="41" creationId="{60A5F192-D7C9-4381-8A07-53C57DBBFFF9}"/>
          </ac:spMkLst>
        </pc:spChg>
        <pc:spChg chg="add mod">
          <ac:chgData name="Meyer Raphael (KOM-PGA-VSF)" userId="79615dfe-ed48-4e74-a40f-4f7b034c1c27" providerId="ADAL" clId="{96D77013-12DF-4911-886E-DED6CCA30677}" dt="2020-11-25T13:54:26.264" v="3364" actId="1037"/>
          <ac:spMkLst>
            <pc:docMk/>
            <pc:sldMk cId="1385239385" sldId="310"/>
            <ac:spMk id="42" creationId="{867DACC2-D0FA-449B-A0B9-ACD5901D15E0}"/>
          </ac:spMkLst>
        </pc:spChg>
        <pc:spChg chg="add mod">
          <ac:chgData name="Meyer Raphael (KOM-PGA-VSF)" userId="79615dfe-ed48-4e74-a40f-4f7b034c1c27" providerId="ADAL" clId="{96D77013-12DF-4911-886E-DED6CCA30677}" dt="2020-11-25T13:54:28.723" v="3365" actId="1037"/>
          <ac:spMkLst>
            <pc:docMk/>
            <pc:sldMk cId="1385239385" sldId="310"/>
            <ac:spMk id="43" creationId="{38A9D91F-EF44-4762-BC82-AE228667DBB1}"/>
          </ac:spMkLst>
        </pc:spChg>
        <pc:cxnChg chg="del mod">
          <ac:chgData name="Meyer Raphael (KOM-PGA-VSF)" userId="79615dfe-ed48-4e74-a40f-4f7b034c1c27" providerId="ADAL" clId="{96D77013-12DF-4911-886E-DED6CCA30677}" dt="2020-11-25T13:53:15.694" v="3350" actId="478"/>
          <ac:cxnSpMkLst>
            <pc:docMk/>
            <pc:sldMk cId="1385239385" sldId="310"/>
            <ac:cxnSpMk id="20" creationId="{07FCC63F-5E2F-43DF-84ED-5FFEC92A0042}"/>
          </ac:cxnSpMkLst>
        </pc:cxnChg>
        <pc:cxnChg chg="add">
          <ac:chgData name="Meyer Raphael (KOM-PGA-VSF)" userId="79615dfe-ed48-4e74-a40f-4f7b034c1c27" providerId="ADAL" clId="{96D77013-12DF-4911-886E-DED6CCA30677}" dt="2020-11-25T13:53:21.541" v="3351"/>
          <ac:cxnSpMkLst>
            <pc:docMk/>
            <pc:sldMk cId="1385239385" sldId="310"/>
            <ac:cxnSpMk id="39" creationId="{2E82DAAA-6968-4AFC-B18C-50CDAEFBA335}"/>
          </ac:cxnSpMkLst>
        </pc:cxnChg>
      </pc:sldChg>
      <pc:sldChg chg="addSp delSp modSp add del">
        <pc:chgData name="Meyer Raphael (KOM-PGA-VSF)" userId="79615dfe-ed48-4e74-a40f-4f7b034c1c27" providerId="ADAL" clId="{96D77013-12DF-4911-886E-DED6CCA30677}" dt="2020-12-09T12:16:03.996" v="3888" actId="2696"/>
        <pc:sldMkLst>
          <pc:docMk/>
          <pc:sldMk cId="3398592613" sldId="311"/>
        </pc:sldMkLst>
        <pc:spChg chg="mod">
          <ac:chgData name="Meyer Raphael (KOM-PGA-VSF)" userId="79615dfe-ed48-4e74-a40f-4f7b034c1c27" providerId="ADAL" clId="{96D77013-12DF-4911-886E-DED6CCA30677}" dt="2020-12-02T10:39:39.033" v="3489"/>
          <ac:spMkLst>
            <pc:docMk/>
            <pc:sldMk cId="3398592613" sldId="311"/>
            <ac:spMk id="2" creationId="{A2DC317F-F1F4-4624-8FC1-3B68C1DBB3DA}"/>
          </ac:spMkLst>
        </pc:spChg>
        <pc:spChg chg="mod">
          <ac:chgData name="Meyer Raphael (KOM-PGA-VSF)" userId="79615dfe-ed48-4e74-a40f-4f7b034c1c27" providerId="ADAL" clId="{96D77013-12DF-4911-886E-DED6CCA30677}" dt="2020-12-02T10:40:07.286" v="3491" actId="20577"/>
          <ac:spMkLst>
            <pc:docMk/>
            <pc:sldMk cId="3398592613" sldId="311"/>
            <ac:spMk id="4" creationId="{FE424811-9A99-46D3-9443-AAB22DAEAB5A}"/>
          </ac:spMkLst>
        </pc:spChg>
        <pc:spChg chg="del">
          <ac:chgData name="Meyer Raphael (KOM-PGA-VSF)" userId="79615dfe-ed48-4e74-a40f-4f7b034c1c27" providerId="ADAL" clId="{96D77013-12DF-4911-886E-DED6CCA30677}" dt="2020-12-02T10:40:41.496" v="3494" actId="478"/>
          <ac:spMkLst>
            <pc:docMk/>
            <pc:sldMk cId="3398592613" sldId="311"/>
            <ac:spMk id="7" creationId="{BA3F9A72-0541-4D1F-8CD8-1C2B8074FA1B}"/>
          </ac:spMkLst>
        </pc:spChg>
        <pc:spChg chg="del">
          <ac:chgData name="Meyer Raphael (KOM-PGA-VSF)" userId="79615dfe-ed48-4e74-a40f-4f7b034c1c27" providerId="ADAL" clId="{96D77013-12DF-4911-886E-DED6CCA30677}" dt="2020-12-02T10:40:41.496" v="3494" actId="478"/>
          <ac:spMkLst>
            <pc:docMk/>
            <pc:sldMk cId="3398592613" sldId="311"/>
            <ac:spMk id="8" creationId="{5857C2A1-2CB8-4D4A-AEFD-E809BF73D04F}"/>
          </ac:spMkLst>
        </pc:spChg>
        <pc:spChg chg="del">
          <ac:chgData name="Meyer Raphael (KOM-PGA-VSF)" userId="79615dfe-ed48-4e74-a40f-4f7b034c1c27" providerId="ADAL" clId="{96D77013-12DF-4911-886E-DED6CCA30677}" dt="2020-12-02T10:40:41.496" v="3494" actId="478"/>
          <ac:spMkLst>
            <pc:docMk/>
            <pc:sldMk cId="3398592613" sldId="311"/>
            <ac:spMk id="9" creationId="{B6990B61-32B2-4ADC-BF01-EDF7B4080F97}"/>
          </ac:spMkLst>
        </pc:spChg>
        <pc:spChg chg="mod">
          <ac:chgData name="Meyer Raphael (KOM-PGA-VSF)" userId="79615dfe-ed48-4e74-a40f-4f7b034c1c27" providerId="ADAL" clId="{96D77013-12DF-4911-886E-DED6CCA30677}" dt="2020-12-02T10:39:51.561" v="3490"/>
          <ac:spMkLst>
            <pc:docMk/>
            <pc:sldMk cId="3398592613" sldId="311"/>
            <ac:spMk id="10" creationId="{077DFD58-E5EE-4B68-9325-D935DB04DD40}"/>
          </ac:spMkLst>
        </pc:spChg>
        <pc:spChg chg="del">
          <ac:chgData name="Meyer Raphael (KOM-PGA-VSF)" userId="79615dfe-ed48-4e74-a40f-4f7b034c1c27" providerId="ADAL" clId="{96D77013-12DF-4911-886E-DED6CCA30677}" dt="2020-12-02T10:40:41.496" v="3494" actId="478"/>
          <ac:spMkLst>
            <pc:docMk/>
            <pc:sldMk cId="3398592613" sldId="311"/>
            <ac:spMk id="17" creationId="{785E740C-F94A-4208-8DFD-63A603C16577}"/>
          </ac:spMkLst>
        </pc:spChg>
        <pc:spChg chg="del">
          <ac:chgData name="Meyer Raphael (KOM-PGA-VSF)" userId="79615dfe-ed48-4e74-a40f-4f7b034c1c27" providerId="ADAL" clId="{96D77013-12DF-4911-886E-DED6CCA30677}" dt="2020-12-02T10:43:50.309" v="3520" actId="478"/>
          <ac:spMkLst>
            <pc:docMk/>
            <pc:sldMk cId="3398592613" sldId="311"/>
            <ac:spMk id="21" creationId="{EC5D28F0-DE30-4BF9-9229-A24B6644F176}"/>
          </ac:spMkLst>
        </pc:spChg>
        <pc:spChg chg="del">
          <ac:chgData name="Meyer Raphael (KOM-PGA-VSF)" userId="79615dfe-ed48-4e74-a40f-4f7b034c1c27" providerId="ADAL" clId="{96D77013-12DF-4911-886E-DED6CCA30677}" dt="2020-12-02T10:40:41.496" v="3494" actId="478"/>
          <ac:spMkLst>
            <pc:docMk/>
            <pc:sldMk cId="3398592613" sldId="311"/>
            <ac:spMk id="26" creationId="{BFD498B5-D73E-4C8A-9FAF-B3547647538C}"/>
          </ac:spMkLst>
        </pc:spChg>
        <pc:spChg chg="mod">
          <ac:chgData name="Meyer Raphael (KOM-PGA-VSF)" userId="79615dfe-ed48-4e74-a40f-4f7b034c1c27" providerId="ADAL" clId="{96D77013-12DF-4911-886E-DED6CCA30677}" dt="2020-12-02T10:41:17.743" v="3496"/>
          <ac:spMkLst>
            <pc:docMk/>
            <pc:sldMk cId="3398592613" sldId="311"/>
            <ac:spMk id="27" creationId="{46A6B042-39EE-4A58-BBAA-13D52264B660}"/>
          </ac:spMkLst>
        </pc:spChg>
        <pc:spChg chg="mod">
          <ac:chgData name="Meyer Raphael (KOM-PGA-VSF)" userId="79615dfe-ed48-4e74-a40f-4f7b034c1c27" providerId="ADAL" clId="{96D77013-12DF-4911-886E-DED6CCA30677}" dt="2020-12-02T10:44:05.777" v="3559" actId="552"/>
          <ac:spMkLst>
            <pc:docMk/>
            <pc:sldMk cId="3398592613" sldId="311"/>
            <ac:spMk id="33" creationId="{18E4FD3A-0462-4CBE-B9ED-76EFB02AE0FB}"/>
          </ac:spMkLst>
        </pc:spChg>
        <pc:spChg chg="add mod">
          <ac:chgData name="Meyer Raphael (KOM-PGA-VSF)" userId="79615dfe-ed48-4e74-a40f-4f7b034c1c27" providerId="ADAL" clId="{96D77013-12DF-4911-886E-DED6CCA30677}" dt="2020-12-02T10:41:27.422" v="3498" actId="20577"/>
          <ac:spMkLst>
            <pc:docMk/>
            <pc:sldMk cId="3398592613" sldId="311"/>
            <ac:spMk id="36" creationId="{9B86410A-3B34-44EA-9927-A5D6A9BFB3C1}"/>
          </ac:spMkLst>
        </pc:spChg>
        <pc:spChg chg="add mod">
          <ac:chgData name="Meyer Raphael (KOM-PGA-VSF)" userId="79615dfe-ed48-4e74-a40f-4f7b034c1c27" providerId="ADAL" clId="{96D77013-12DF-4911-886E-DED6CCA30677}" dt="2020-12-02T10:51:03.315" v="3701" actId="20577"/>
          <ac:spMkLst>
            <pc:docMk/>
            <pc:sldMk cId="3398592613" sldId="311"/>
            <ac:spMk id="37" creationId="{86E8790F-A6D7-4A67-99E8-0D8B2A377AC2}"/>
          </ac:spMkLst>
        </pc:spChg>
        <pc:spChg chg="add mod">
          <ac:chgData name="Meyer Raphael (KOM-PGA-VSF)" userId="79615dfe-ed48-4e74-a40f-4f7b034c1c27" providerId="ADAL" clId="{96D77013-12DF-4911-886E-DED6CCA30677}" dt="2020-12-02T10:50:58.761" v="3699" actId="20577"/>
          <ac:spMkLst>
            <pc:docMk/>
            <pc:sldMk cId="3398592613" sldId="311"/>
            <ac:spMk id="38" creationId="{AD315BA4-CB53-481E-9364-7871857B7B57}"/>
          </ac:spMkLst>
        </pc:spChg>
        <pc:spChg chg="add">
          <ac:chgData name="Meyer Raphael (KOM-PGA-VSF)" userId="79615dfe-ed48-4e74-a40f-4f7b034c1c27" providerId="ADAL" clId="{96D77013-12DF-4911-886E-DED6CCA30677}" dt="2020-12-02T10:40:57.292" v="3495"/>
          <ac:spMkLst>
            <pc:docMk/>
            <pc:sldMk cId="3398592613" sldId="311"/>
            <ac:spMk id="39" creationId="{4F76A539-CA48-4221-96AF-2F89AD1E563E}"/>
          </ac:spMkLst>
        </pc:spChg>
        <pc:spChg chg="add">
          <ac:chgData name="Meyer Raphael (KOM-PGA-VSF)" userId="79615dfe-ed48-4e74-a40f-4f7b034c1c27" providerId="ADAL" clId="{96D77013-12DF-4911-886E-DED6CCA30677}" dt="2020-12-02T10:40:57.292" v="3495"/>
          <ac:spMkLst>
            <pc:docMk/>
            <pc:sldMk cId="3398592613" sldId="311"/>
            <ac:spMk id="40" creationId="{A7D69D46-2B5B-4B18-90FA-4A09BB54D1D0}"/>
          </ac:spMkLst>
        </pc:spChg>
        <pc:spChg chg="add mod">
          <ac:chgData name="Meyer Raphael (KOM-PGA-VSF)" userId="79615dfe-ed48-4e74-a40f-4f7b034c1c27" providerId="ADAL" clId="{96D77013-12DF-4911-886E-DED6CCA30677}" dt="2020-12-02T10:44:05.777" v="3559" actId="552"/>
          <ac:spMkLst>
            <pc:docMk/>
            <pc:sldMk cId="3398592613" sldId="311"/>
            <ac:spMk id="41" creationId="{76C7829F-6285-47AF-919E-BC9CF59E2E00}"/>
          </ac:spMkLst>
        </pc:spChg>
        <pc:cxnChg chg="mod">
          <ac:chgData name="Meyer Raphael (KOM-PGA-VSF)" userId="79615dfe-ed48-4e74-a40f-4f7b034c1c27" providerId="ADAL" clId="{96D77013-12DF-4911-886E-DED6CCA30677}" dt="2020-12-02T10:40:41.496" v="3494" actId="478"/>
          <ac:cxnSpMkLst>
            <pc:docMk/>
            <pc:sldMk cId="3398592613" sldId="311"/>
            <ac:cxnSpMk id="20" creationId="{07FCC63F-5E2F-43DF-84ED-5FFEC92A0042}"/>
          </ac:cxnSpMkLst>
        </pc:cxnChg>
      </pc:sldChg>
      <pc:sldChg chg="addSp delSp modSp add del">
        <pc:chgData name="Meyer Raphael (KOM-PGA-VSF)" userId="79615dfe-ed48-4e74-a40f-4f7b034c1c27" providerId="ADAL" clId="{96D77013-12DF-4911-886E-DED6CCA30677}" dt="2020-12-09T12:19:16.108" v="3923" actId="2696"/>
        <pc:sldMkLst>
          <pc:docMk/>
          <pc:sldMk cId="2874421344" sldId="312"/>
        </pc:sldMkLst>
        <pc:spChg chg="del">
          <ac:chgData name="Meyer Raphael (KOM-PGA-VSF)" userId="79615dfe-ed48-4e74-a40f-4f7b034c1c27" providerId="ADAL" clId="{96D77013-12DF-4911-886E-DED6CCA30677}" dt="2020-12-02T10:45:03.999" v="3564" actId="478"/>
          <ac:spMkLst>
            <pc:docMk/>
            <pc:sldMk cId="2874421344" sldId="312"/>
            <ac:spMk id="2" creationId="{A2DC317F-F1F4-4624-8FC1-3B68C1DBB3DA}"/>
          </ac:spMkLst>
        </pc:spChg>
        <pc:spChg chg="mod">
          <ac:chgData name="Meyer Raphael (KOM-PGA-VSF)" userId="79615dfe-ed48-4e74-a40f-4f7b034c1c27" providerId="ADAL" clId="{96D77013-12DF-4911-886E-DED6CCA30677}" dt="2020-12-02T10:40:18.396" v="3493" actId="20577"/>
          <ac:spMkLst>
            <pc:docMk/>
            <pc:sldMk cId="2874421344" sldId="312"/>
            <ac:spMk id="4" creationId="{FE424811-9A99-46D3-9443-AAB22DAEAB5A}"/>
          </ac:spMkLst>
        </pc:spChg>
        <pc:spChg chg="add del mod">
          <ac:chgData name="Meyer Raphael (KOM-PGA-VSF)" userId="79615dfe-ed48-4e74-a40f-4f7b034c1c27" providerId="ADAL" clId="{96D77013-12DF-4911-886E-DED6CCA30677}" dt="2020-12-02T10:46:24.190" v="3575" actId="478"/>
          <ac:spMkLst>
            <pc:docMk/>
            <pc:sldMk cId="2874421344" sldId="312"/>
            <ac:spMk id="6" creationId="{FA4603BD-6EA2-49CA-A0E1-3AC5EEEE71AF}"/>
          </ac:spMkLst>
        </pc:spChg>
        <pc:spChg chg="del">
          <ac:chgData name="Meyer Raphael (KOM-PGA-VSF)" userId="79615dfe-ed48-4e74-a40f-4f7b034c1c27" providerId="ADAL" clId="{96D77013-12DF-4911-886E-DED6CCA30677}" dt="2020-12-02T10:45:03.999" v="3564" actId="478"/>
          <ac:spMkLst>
            <pc:docMk/>
            <pc:sldMk cId="2874421344" sldId="312"/>
            <ac:spMk id="7" creationId="{BA3F9A72-0541-4D1F-8CD8-1C2B8074FA1B}"/>
          </ac:spMkLst>
        </pc:spChg>
        <pc:spChg chg="del">
          <ac:chgData name="Meyer Raphael (KOM-PGA-VSF)" userId="79615dfe-ed48-4e74-a40f-4f7b034c1c27" providerId="ADAL" clId="{96D77013-12DF-4911-886E-DED6CCA30677}" dt="2020-12-02T10:45:03.999" v="3564" actId="478"/>
          <ac:spMkLst>
            <pc:docMk/>
            <pc:sldMk cId="2874421344" sldId="312"/>
            <ac:spMk id="8" creationId="{5857C2A1-2CB8-4D4A-AEFD-E809BF73D04F}"/>
          </ac:spMkLst>
        </pc:spChg>
        <pc:spChg chg="del">
          <ac:chgData name="Meyer Raphael (KOM-PGA-VSF)" userId="79615dfe-ed48-4e74-a40f-4f7b034c1c27" providerId="ADAL" clId="{96D77013-12DF-4911-886E-DED6CCA30677}" dt="2020-12-02T10:45:03.999" v="3564" actId="478"/>
          <ac:spMkLst>
            <pc:docMk/>
            <pc:sldMk cId="2874421344" sldId="312"/>
            <ac:spMk id="9" creationId="{B6990B61-32B2-4ADC-BF01-EDF7B4080F97}"/>
          </ac:spMkLst>
        </pc:spChg>
        <pc:spChg chg="del">
          <ac:chgData name="Meyer Raphael (KOM-PGA-VSF)" userId="79615dfe-ed48-4e74-a40f-4f7b034c1c27" providerId="ADAL" clId="{96D77013-12DF-4911-886E-DED6CCA30677}" dt="2020-12-02T10:45:03.999" v="3564" actId="478"/>
          <ac:spMkLst>
            <pc:docMk/>
            <pc:sldMk cId="2874421344" sldId="312"/>
            <ac:spMk id="10" creationId="{077DFD58-E5EE-4B68-9325-D935DB04DD40}"/>
          </ac:spMkLst>
        </pc:spChg>
        <pc:spChg chg="del">
          <ac:chgData name="Meyer Raphael (KOM-PGA-VSF)" userId="79615dfe-ed48-4e74-a40f-4f7b034c1c27" providerId="ADAL" clId="{96D77013-12DF-4911-886E-DED6CCA30677}" dt="2020-12-02T10:45:03.999" v="3564" actId="478"/>
          <ac:spMkLst>
            <pc:docMk/>
            <pc:sldMk cId="2874421344" sldId="312"/>
            <ac:spMk id="17" creationId="{785E740C-F94A-4208-8DFD-63A603C16577}"/>
          </ac:spMkLst>
        </pc:spChg>
        <pc:spChg chg="del mod">
          <ac:chgData name="Meyer Raphael (KOM-PGA-VSF)" userId="79615dfe-ed48-4e74-a40f-4f7b034c1c27" providerId="ADAL" clId="{96D77013-12DF-4911-886E-DED6CCA30677}" dt="2020-12-02T10:47:57.512" v="3591" actId="478"/>
          <ac:spMkLst>
            <pc:docMk/>
            <pc:sldMk cId="2874421344" sldId="312"/>
            <ac:spMk id="21" creationId="{EC5D28F0-DE30-4BF9-9229-A24B6644F176}"/>
          </ac:spMkLst>
        </pc:spChg>
        <pc:spChg chg="del">
          <ac:chgData name="Meyer Raphael (KOM-PGA-VSF)" userId="79615dfe-ed48-4e74-a40f-4f7b034c1c27" providerId="ADAL" clId="{96D77013-12DF-4911-886E-DED6CCA30677}" dt="2020-12-02T10:45:03.999" v="3564" actId="478"/>
          <ac:spMkLst>
            <pc:docMk/>
            <pc:sldMk cId="2874421344" sldId="312"/>
            <ac:spMk id="26" creationId="{BFD498B5-D73E-4C8A-9FAF-B3547647538C}"/>
          </ac:spMkLst>
        </pc:spChg>
        <pc:spChg chg="mod">
          <ac:chgData name="Meyer Raphael (KOM-PGA-VSF)" userId="79615dfe-ed48-4e74-a40f-4f7b034c1c27" providerId="ADAL" clId="{96D77013-12DF-4911-886E-DED6CCA30677}" dt="2020-12-02T10:45:56.747" v="3571" actId="14100"/>
          <ac:spMkLst>
            <pc:docMk/>
            <pc:sldMk cId="2874421344" sldId="312"/>
            <ac:spMk id="27" creationId="{46A6B042-39EE-4A58-BBAA-13D52264B660}"/>
          </ac:spMkLst>
        </pc:spChg>
        <pc:spChg chg="del mod">
          <ac:chgData name="Meyer Raphael (KOM-PGA-VSF)" userId="79615dfe-ed48-4e74-a40f-4f7b034c1c27" providerId="ADAL" clId="{96D77013-12DF-4911-886E-DED6CCA30677}" dt="2020-12-02T10:47:57.512" v="3591" actId="478"/>
          <ac:spMkLst>
            <pc:docMk/>
            <pc:sldMk cId="2874421344" sldId="312"/>
            <ac:spMk id="33" creationId="{18E4FD3A-0462-4CBE-B9ED-76EFB02AE0FB}"/>
          </ac:spMkLst>
        </pc:spChg>
        <pc:spChg chg="add del">
          <ac:chgData name="Meyer Raphael (KOM-PGA-VSF)" userId="79615dfe-ed48-4e74-a40f-4f7b034c1c27" providerId="ADAL" clId="{96D77013-12DF-4911-886E-DED6CCA30677}" dt="2020-12-02T10:46:21.113" v="3574" actId="478"/>
          <ac:spMkLst>
            <pc:docMk/>
            <pc:sldMk cId="2874421344" sldId="312"/>
            <ac:spMk id="36" creationId="{7147D615-B09E-46F5-B8F8-A70F83A6E7C4}"/>
          </ac:spMkLst>
        </pc:spChg>
        <pc:spChg chg="add">
          <ac:chgData name="Meyer Raphael (KOM-PGA-VSF)" userId="79615dfe-ed48-4e74-a40f-4f7b034c1c27" providerId="ADAL" clId="{96D77013-12DF-4911-886E-DED6CCA30677}" dt="2020-12-02T10:45:17.518" v="3565"/>
          <ac:spMkLst>
            <pc:docMk/>
            <pc:sldMk cId="2874421344" sldId="312"/>
            <ac:spMk id="37" creationId="{FC963CB8-3BFC-46CD-BB40-79526C3429E6}"/>
          </ac:spMkLst>
        </pc:spChg>
        <pc:spChg chg="add mod">
          <ac:chgData name="Meyer Raphael (KOM-PGA-VSF)" userId="79615dfe-ed48-4e74-a40f-4f7b034c1c27" providerId="ADAL" clId="{96D77013-12DF-4911-886E-DED6CCA30677}" dt="2020-12-09T12:17:11.002" v="3905" actId="1076"/>
          <ac:spMkLst>
            <pc:docMk/>
            <pc:sldMk cId="2874421344" sldId="312"/>
            <ac:spMk id="38" creationId="{100AE228-7811-43BF-BB60-68C1F32CC4FA}"/>
          </ac:spMkLst>
        </pc:spChg>
        <pc:spChg chg="add mod">
          <ac:chgData name="Meyer Raphael (KOM-PGA-VSF)" userId="79615dfe-ed48-4e74-a40f-4f7b034c1c27" providerId="ADAL" clId="{96D77013-12DF-4911-886E-DED6CCA30677}" dt="2020-12-09T12:17:11.002" v="3905" actId="1076"/>
          <ac:spMkLst>
            <pc:docMk/>
            <pc:sldMk cId="2874421344" sldId="312"/>
            <ac:spMk id="39" creationId="{1FC7AFF1-4B3B-4501-9A04-87DAC5E18CA0}"/>
          </ac:spMkLst>
        </pc:spChg>
        <pc:spChg chg="add mod">
          <ac:chgData name="Meyer Raphael (KOM-PGA-VSF)" userId="79615dfe-ed48-4e74-a40f-4f7b034c1c27" providerId="ADAL" clId="{96D77013-12DF-4911-886E-DED6CCA30677}" dt="2020-12-02T10:46:01.584" v="3573" actId="20577"/>
          <ac:spMkLst>
            <pc:docMk/>
            <pc:sldMk cId="2874421344" sldId="312"/>
            <ac:spMk id="40" creationId="{F087FBA5-DF8F-4EF9-86E5-4818E85C9C6B}"/>
          </ac:spMkLst>
        </pc:spChg>
        <pc:spChg chg="add mod">
          <ac:chgData name="Meyer Raphael (KOM-PGA-VSF)" userId="79615dfe-ed48-4e74-a40f-4f7b034c1c27" providerId="ADAL" clId="{96D77013-12DF-4911-886E-DED6CCA30677}" dt="2020-12-09T12:17:11.002" v="3905" actId="1076"/>
          <ac:spMkLst>
            <pc:docMk/>
            <pc:sldMk cId="2874421344" sldId="312"/>
            <ac:spMk id="41" creationId="{8EF703AA-1164-491E-A67A-4CA5CE8918B8}"/>
          </ac:spMkLst>
        </pc:spChg>
        <pc:spChg chg="add mod">
          <ac:chgData name="Meyer Raphael (KOM-PGA-VSF)" userId="79615dfe-ed48-4e74-a40f-4f7b034c1c27" providerId="ADAL" clId="{96D77013-12DF-4911-886E-DED6CCA30677}" dt="2020-12-09T12:17:11.002" v="3905" actId="1076"/>
          <ac:spMkLst>
            <pc:docMk/>
            <pc:sldMk cId="2874421344" sldId="312"/>
            <ac:spMk id="42" creationId="{627A35E5-5BD3-492B-8880-29B634808377}"/>
          </ac:spMkLst>
        </pc:spChg>
        <pc:spChg chg="add">
          <ac:chgData name="Meyer Raphael (KOM-PGA-VSF)" userId="79615dfe-ed48-4e74-a40f-4f7b034c1c27" providerId="ADAL" clId="{96D77013-12DF-4911-886E-DED6CCA30677}" dt="2020-12-02T10:46:30.383" v="3576"/>
          <ac:spMkLst>
            <pc:docMk/>
            <pc:sldMk cId="2874421344" sldId="312"/>
            <ac:spMk id="43" creationId="{DA4FBA78-3F31-483D-8EA5-4328BE836B0F}"/>
          </ac:spMkLst>
        </pc:spChg>
        <pc:spChg chg="add mod">
          <ac:chgData name="Meyer Raphael (KOM-PGA-VSF)" userId="79615dfe-ed48-4e74-a40f-4f7b034c1c27" providerId="ADAL" clId="{96D77013-12DF-4911-886E-DED6CCA30677}" dt="2020-12-02T10:50:26.306" v="3693" actId="552"/>
          <ac:spMkLst>
            <pc:docMk/>
            <pc:sldMk cId="2874421344" sldId="312"/>
            <ac:spMk id="44" creationId="{B77AEC99-7053-41DB-9D66-11198B81AAA5}"/>
          </ac:spMkLst>
        </pc:spChg>
        <pc:spChg chg="add del">
          <ac:chgData name="Meyer Raphael (KOM-PGA-VSF)" userId="79615dfe-ed48-4e74-a40f-4f7b034c1c27" providerId="ADAL" clId="{96D77013-12DF-4911-886E-DED6CCA30677}" dt="2020-12-02T10:48:58.688" v="3608" actId="478"/>
          <ac:spMkLst>
            <pc:docMk/>
            <pc:sldMk cId="2874421344" sldId="312"/>
            <ac:spMk id="45" creationId="{59740038-C636-4053-A09E-DC061EF373E0}"/>
          </ac:spMkLst>
        </pc:spChg>
        <pc:spChg chg="add del mod">
          <ac:chgData name="Meyer Raphael (KOM-PGA-VSF)" userId="79615dfe-ed48-4e74-a40f-4f7b034c1c27" providerId="ADAL" clId="{96D77013-12DF-4911-886E-DED6CCA30677}" dt="2020-12-02T10:50:15.024" v="3658" actId="478"/>
          <ac:spMkLst>
            <pc:docMk/>
            <pc:sldMk cId="2874421344" sldId="312"/>
            <ac:spMk id="46" creationId="{832CAC1C-0470-4C89-9EB0-F4B629A40FB7}"/>
          </ac:spMkLst>
        </pc:spChg>
        <pc:spChg chg="add mod">
          <ac:chgData name="Meyer Raphael (KOM-PGA-VSF)" userId="79615dfe-ed48-4e74-a40f-4f7b034c1c27" providerId="ADAL" clId="{96D77013-12DF-4911-886E-DED6CCA30677}" dt="2020-12-02T10:50:26.306" v="3693" actId="552"/>
          <ac:spMkLst>
            <pc:docMk/>
            <pc:sldMk cId="2874421344" sldId="312"/>
            <ac:spMk id="47" creationId="{78DD18C4-1C75-4D14-AC11-6E52855FF369}"/>
          </ac:spMkLst>
        </pc:spChg>
        <pc:cxnChg chg="mod">
          <ac:chgData name="Meyer Raphael (KOM-PGA-VSF)" userId="79615dfe-ed48-4e74-a40f-4f7b034c1c27" providerId="ADAL" clId="{96D77013-12DF-4911-886E-DED6CCA30677}" dt="2020-12-02T10:45:03.999" v="3564" actId="478"/>
          <ac:cxnSpMkLst>
            <pc:docMk/>
            <pc:sldMk cId="2874421344" sldId="312"/>
            <ac:cxnSpMk id="20" creationId="{07FCC63F-5E2F-43DF-84ED-5FFEC92A0042}"/>
          </ac:cxnSpMkLst>
        </pc:cxnChg>
      </pc:sldChg>
      <pc:sldChg chg="addSp delSp modSp add del ord">
        <pc:chgData name="Meyer Raphael (KOM-PGA-VSF)" userId="79615dfe-ed48-4e74-a40f-4f7b034c1c27" providerId="ADAL" clId="{96D77013-12DF-4911-886E-DED6CCA30677}" dt="2020-12-16T10:37:07.978" v="4004" actId="2696"/>
        <pc:sldMkLst>
          <pc:docMk/>
          <pc:sldMk cId="1627822697" sldId="313"/>
        </pc:sldMkLst>
        <pc:spChg chg="mod">
          <ac:chgData name="Meyer Raphael (KOM-PGA-VSF)" userId="79615dfe-ed48-4e74-a40f-4f7b034c1c27" providerId="ADAL" clId="{96D77013-12DF-4911-886E-DED6CCA30677}" dt="2020-12-09T12:13:57.965" v="3870"/>
          <ac:spMkLst>
            <pc:docMk/>
            <pc:sldMk cId="1627822697" sldId="313"/>
            <ac:spMk id="2" creationId="{A2DC317F-F1F4-4624-8FC1-3B68C1DBB3DA}"/>
          </ac:spMkLst>
        </pc:spChg>
        <pc:spChg chg="add del">
          <ac:chgData name="Meyer Raphael (KOM-PGA-VSF)" userId="79615dfe-ed48-4e74-a40f-4f7b034c1c27" providerId="ADAL" clId="{96D77013-12DF-4911-886E-DED6CCA30677}" dt="2020-12-09T12:14:59.597" v="3878"/>
          <ac:spMkLst>
            <pc:docMk/>
            <pc:sldMk cId="1627822697" sldId="313"/>
            <ac:spMk id="3" creationId="{A0E95A08-44B8-4C1C-A3DC-9EBD21742533}"/>
          </ac:spMkLst>
        </pc:spChg>
        <pc:spChg chg="del">
          <ac:chgData name="Meyer Raphael (KOM-PGA-VSF)" userId="79615dfe-ed48-4e74-a40f-4f7b034c1c27" providerId="ADAL" clId="{96D77013-12DF-4911-886E-DED6CCA30677}" dt="2020-12-09T12:14:25.336" v="3872" actId="478"/>
          <ac:spMkLst>
            <pc:docMk/>
            <pc:sldMk cId="1627822697" sldId="313"/>
            <ac:spMk id="7" creationId="{BA3F9A72-0541-4D1F-8CD8-1C2B8074FA1B}"/>
          </ac:spMkLst>
        </pc:spChg>
        <pc:spChg chg="del">
          <ac:chgData name="Meyer Raphael (KOM-PGA-VSF)" userId="79615dfe-ed48-4e74-a40f-4f7b034c1c27" providerId="ADAL" clId="{96D77013-12DF-4911-886E-DED6CCA30677}" dt="2020-12-09T12:14:36.673" v="3876" actId="478"/>
          <ac:spMkLst>
            <pc:docMk/>
            <pc:sldMk cId="1627822697" sldId="313"/>
            <ac:spMk id="8" creationId="{5857C2A1-2CB8-4D4A-AEFD-E809BF73D04F}"/>
          </ac:spMkLst>
        </pc:spChg>
        <pc:spChg chg="del">
          <ac:chgData name="Meyer Raphael (KOM-PGA-VSF)" userId="79615dfe-ed48-4e74-a40f-4f7b034c1c27" providerId="ADAL" clId="{96D77013-12DF-4911-886E-DED6CCA30677}" dt="2020-12-09T12:14:27.824" v="3873" actId="478"/>
          <ac:spMkLst>
            <pc:docMk/>
            <pc:sldMk cId="1627822697" sldId="313"/>
            <ac:spMk id="9" creationId="{B6990B61-32B2-4ADC-BF01-EDF7B4080F97}"/>
          </ac:spMkLst>
        </pc:spChg>
        <pc:spChg chg="mod">
          <ac:chgData name="Meyer Raphael (KOM-PGA-VSF)" userId="79615dfe-ed48-4e74-a40f-4f7b034c1c27" providerId="ADAL" clId="{96D77013-12DF-4911-886E-DED6CCA30677}" dt="2020-12-09T12:14:07.435" v="3871"/>
          <ac:spMkLst>
            <pc:docMk/>
            <pc:sldMk cId="1627822697" sldId="313"/>
            <ac:spMk id="10" creationId="{077DFD58-E5EE-4B68-9325-D935DB04DD40}"/>
          </ac:spMkLst>
        </pc:spChg>
        <pc:spChg chg="del">
          <ac:chgData name="Meyer Raphael (KOM-PGA-VSF)" userId="79615dfe-ed48-4e74-a40f-4f7b034c1c27" providerId="ADAL" clId="{96D77013-12DF-4911-886E-DED6CCA30677}" dt="2020-12-09T12:14:33.963" v="3875" actId="478"/>
          <ac:spMkLst>
            <pc:docMk/>
            <pc:sldMk cId="1627822697" sldId="313"/>
            <ac:spMk id="17" creationId="{785E740C-F94A-4208-8DFD-63A603C16577}"/>
          </ac:spMkLst>
        </pc:spChg>
        <pc:spChg chg="del">
          <ac:chgData name="Meyer Raphael (KOM-PGA-VSF)" userId="79615dfe-ed48-4e74-a40f-4f7b034c1c27" providerId="ADAL" clId="{96D77013-12DF-4911-886E-DED6CCA30677}" dt="2020-12-09T12:14:31.009" v="3874" actId="478"/>
          <ac:spMkLst>
            <pc:docMk/>
            <pc:sldMk cId="1627822697" sldId="313"/>
            <ac:spMk id="26" creationId="{BFD498B5-D73E-4C8A-9FAF-B3547647538C}"/>
          </ac:spMkLst>
        </pc:spChg>
        <pc:spChg chg="mod">
          <ac:chgData name="Meyer Raphael (KOM-PGA-VSF)" userId="79615dfe-ed48-4e74-a40f-4f7b034c1c27" providerId="ADAL" clId="{96D77013-12DF-4911-886E-DED6CCA30677}" dt="2020-12-09T12:15:31.950" v="3882"/>
          <ac:spMkLst>
            <pc:docMk/>
            <pc:sldMk cId="1627822697" sldId="313"/>
            <ac:spMk id="27" creationId="{46A6B042-39EE-4A58-BBAA-13D52264B660}"/>
          </ac:spMkLst>
        </pc:spChg>
        <pc:spChg chg="add mod">
          <ac:chgData name="Meyer Raphael (KOM-PGA-VSF)" userId="79615dfe-ed48-4e74-a40f-4f7b034c1c27" providerId="ADAL" clId="{96D77013-12DF-4911-886E-DED6CCA30677}" dt="2020-12-09T12:15:16.004" v="3881" actId="20577"/>
          <ac:spMkLst>
            <pc:docMk/>
            <pc:sldMk cId="1627822697" sldId="313"/>
            <ac:spMk id="36" creationId="{0E043FF4-C8C2-481B-B235-442BA7C6AD9B}"/>
          </ac:spMkLst>
        </pc:spChg>
        <pc:spChg chg="add">
          <ac:chgData name="Meyer Raphael (KOM-PGA-VSF)" userId="79615dfe-ed48-4e74-a40f-4f7b034c1c27" providerId="ADAL" clId="{96D77013-12DF-4911-886E-DED6CCA30677}" dt="2020-12-09T12:15:11.312" v="3879"/>
          <ac:spMkLst>
            <pc:docMk/>
            <pc:sldMk cId="1627822697" sldId="313"/>
            <ac:spMk id="38" creationId="{48ACDD2C-6F1D-40EF-9B12-C188963437A1}"/>
          </ac:spMkLst>
        </pc:spChg>
        <pc:spChg chg="add">
          <ac:chgData name="Meyer Raphael (KOM-PGA-VSF)" userId="79615dfe-ed48-4e74-a40f-4f7b034c1c27" providerId="ADAL" clId="{96D77013-12DF-4911-886E-DED6CCA30677}" dt="2020-12-09T12:15:11.312" v="3879"/>
          <ac:spMkLst>
            <pc:docMk/>
            <pc:sldMk cId="1627822697" sldId="313"/>
            <ac:spMk id="39" creationId="{A58E27FA-8C44-406A-9262-DCAF643E5CDD}"/>
          </ac:spMkLst>
        </pc:spChg>
        <pc:spChg chg="add">
          <ac:chgData name="Meyer Raphael (KOM-PGA-VSF)" userId="79615dfe-ed48-4e74-a40f-4f7b034c1c27" providerId="ADAL" clId="{96D77013-12DF-4911-886E-DED6CCA30677}" dt="2020-12-09T12:15:11.312" v="3879"/>
          <ac:spMkLst>
            <pc:docMk/>
            <pc:sldMk cId="1627822697" sldId="313"/>
            <ac:spMk id="40" creationId="{1ACDFCF4-2487-4B98-8184-C6F3BFA664A5}"/>
          </ac:spMkLst>
        </pc:spChg>
        <pc:spChg chg="add">
          <ac:chgData name="Meyer Raphael (KOM-PGA-VSF)" userId="79615dfe-ed48-4e74-a40f-4f7b034c1c27" providerId="ADAL" clId="{96D77013-12DF-4911-886E-DED6CCA30677}" dt="2020-12-09T12:15:11.312" v="3879"/>
          <ac:spMkLst>
            <pc:docMk/>
            <pc:sldMk cId="1627822697" sldId="313"/>
            <ac:spMk id="41" creationId="{5D75E1CB-CD6F-41D8-AE1F-87FA9F18205C}"/>
          </ac:spMkLst>
        </pc:spChg>
        <pc:cxnChg chg="mod">
          <ac:chgData name="Meyer Raphael (KOM-PGA-VSF)" userId="79615dfe-ed48-4e74-a40f-4f7b034c1c27" providerId="ADAL" clId="{96D77013-12DF-4911-886E-DED6CCA30677}" dt="2020-12-09T12:14:36.673" v="3876" actId="478"/>
          <ac:cxnSpMkLst>
            <pc:docMk/>
            <pc:sldMk cId="1627822697" sldId="313"/>
            <ac:cxnSpMk id="20" creationId="{07FCC63F-5E2F-43DF-84ED-5FFEC92A0042}"/>
          </ac:cxnSpMkLst>
        </pc:cxnChg>
        <pc:cxnChg chg="mod">
          <ac:chgData name="Meyer Raphael (KOM-PGA-VSF)" userId="79615dfe-ed48-4e74-a40f-4f7b034c1c27" providerId="ADAL" clId="{96D77013-12DF-4911-886E-DED6CCA30677}" dt="2020-12-09T12:16:11.199" v="3895" actId="1037"/>
          <ac:cxnSpMkLst>
            <pc:docMk/>
            <pc:sldMk cId="1627822697" sldId="313"/>
            <ac:cxnSpMk id="30" creationId="{1D702FCA-793F-404B-84D5-F14C318BFFB3}"/>
          </ac:cxnSpMkLst>
        </pc:cxnChg>
      </pc:sldChg>
      <pc:sldChg chg="addSp delSp modSp add del ord">
        <pc:chgData name="Meyer Raphael (KOM-PGA-VSF)" userId="79615dfe-ed48-4e74-a40f-4f7b034c1c27" providerId="ADAL" clId="{96D77013-12DF-4911-886E-DED6CCA30677}" dt="2020-12-16T10:38:55.297" v="4018" actId="2696"/>
        <pc:sldMkLst>
          <pc:docMk/>
          <pc:sldMk cId="1400085580" sldId="314"/>
        </pc:sldMkLst>
        <pc:spChg chg="mod">
          <ac:chgData name="Meyer Raphael (KOM-PGA-VSF)" userId="79615dfe-ed48-4e74-a40f-4f7b034c1c27" providerId="ADAL" clId="{96D77013-12DF-4911-886E-DED6CCA30677}" dt="2020-12-09T12:16:30.539" v="3901"/>
          <ac:spMkLst>
            <pc:docMk/>
            <pc:sldMk cId="1400085580" sldId="314"/>
            <ac:spMk id="2" creationId="{A2DC317F-F1F4-4624-8FC1-3B68C1DBB3DA}"/>
          </ac:spMkLst>
        </pc:spChg>
        <pc:spChg chg="del">
          <ac:chgData name="Meyer Raphael (KOM-PGA-VSF)" userId="79615dfe-ed48-4e74-a40f-4f7b034c1c27" providerId="ADAL" clId="{96D77013-12DF-4911-886E-DED6CCA30677}" dt="2020-12-09T12:16:59.535" v="3903" actId="478"/>
          <ac:spMkLst>
            <pc:docMk/>
            <pc:sldMk cId="1400085580" sldId="314"/>
            <ac:spMk id="7" creationId="{BA3F9A72-0541-4D1F-8CD8-1C2B8074FA1B}"/>
          </ac:spMkLst>
        </pc:spChg>
        <pc:spChg chg="del mod">
          <ac:chgData name="Meyer Raphael (KOM-PGA-VSF)" userId="79615dfe-ed48-4e74-a40f-4f7b034c1c27" providerId="ADAL" clId="{96D77013-12DF-4911-886E-DED6CCA30677}" dt="2020-12-09T12:18:14.097" v="3915" actId="478"/>
          <ac:spMkLst>
            <pc:docMk/>
            <pc:sldMk cId="1400085580" sldId="314"/>
            <ac:spMk id="8" creationId="{5857C2A1-2CB8-4D4A-AEFD-E809BF73D04F}"/>
          </ac:spMkLst>
        </pc:spChg>
        <pc:spChg chg="del">
          <ac:chgData name="Meyer Raphael (KOM-PGA-VSF)" userId="79615dfe-ed48-4e74-a40f-4f7b034c1c27" providerId="ADAL" clId="{96D77013-12DF-4911-886E-DED6CCA30677}" dt="2020-12-09T12:16:59.535" v="3903" actId="478"/>
          <ac:spMkLst>
            <pc:docMk/>
            <pc:sldMk cId="1400085580" sldId="314"/>
            <ac:spMk id="9" creationId="{B6990B61-32B2-4ADC-BF01-EDF7B4080F97}"/>
          </ac:spMkLst>
        </pc:spChg>
        <pc:spChg chg="mod">
          <ac:chgData name="Meyer Raphael (KOM-PGA-VSF)" userId="79615dfe-ed48-4e74-a40f-4f7b034c1c27" providerId="ADAL" clId="{96D77013-12DF-4911-886E-DED6CCA30677}" dt="2020-12-09T12:16:39.270" v="3902"/>
          <ac:spMkLst>
            <pc:docMk/>
            <pc:sldMk cId="1400085580" sldId="314"/>
            <ac:spMk id="10" creationId="{077DFD58-E5EE-4B68-9325-D935DB04DD40}"/>
          </ac:spMkLst>
        </pc:spChg>
        <pc:spChg chg="del">
          <ac:chgData name="Meyer Raphael (KOM-PGA-VSF)" userId="79615dfe-ed48-4e74-a40f-4f7b034c1c27" providerId="ADAL" clId="{96D77013-12DF-4911-886E-DED6CCA30677}" dt="2020-12-09T12:16:59.535" v="3903" actId="478"/>
          <ac:spMkLst>
            <pc:docMk/>
            <pc:sldMk cId="1400085580" sldId="314"/>
            <ac:spMk id="17" creationId="{785E740C-F94A-4208-8DFD-63A603C16577}"/>
          </ac:spMkLst>
        </pc:spChg>
        <pc:spChg chg="del">
          <ac:chgData name="Meyer Raphael (KOM-PGA-VSF)" userId="79615dfe-ed48-4e74-a40f-4f7b034c1c27" providerId="ADAL" clId="{96D77013-12DF-4911-886E-DED6CCA30677}" dt="2020-12-09T12:16:59.535" v="3903" actId="478"/>
          <ac:spMkLst>
            <pc:docMk/>
            <pc:sldMk cId="1400085580" sldId="314"/>
            <ac:spMk id="26" creationId="{BFD498B5-D73E-4C8A-9FAF-B3547647538C}"/>
          </ac:spMkLst>
        </pc:spChg>
        <pc:spChg chg="mod">
          <ac:chgData name="Meyer Raphael (KOM-PGA-VSF)" userId="79615dfe-ed48-4e74-a40f-4f7b034c1c27" providerId="ADAL" clId="{96D77013-12DF-4911-886E-DED6CCA30677}" dt="2020-12-09T12:18:56.630" v="3922" actId="14100"/>
          <ac:spMkLst>
            <pc:docMk/>
            <pc:sldMk cId="1400085580" sldId="314"/>
            <ac:spMk id="27" creationId="{46A6B042-39EE-4A58-BBAA-13D52264B660}"/>
          </ac:spMkLst>
        </pc:spChg>
        <pc:spChg chg="del">
          <ac:chgData name="Meyer Raphael (KOM-PGA-VSF)" userId="79615dfe-ed48-4e74-a40f-4f7b034c1c27" providerId="ADAL" clId="{96D77013-12DF-4911-886E-DED6CCA30677}" dt="2020-12-09T12:17:26.591" v="3907" actId="478"/>
          <ac:spMkLst>
            <pc:docMk/>
            <pc:sldMk cId="1400085580" sldId="314"/>
            <ac:spMk id="33" creationId="{A80F7DEC-022D-4493-8CDE-E61BC06E6C43}"/>
          </ac:spMkLst>
        </pc:spChg>
        <pc:spChg chg="add">
          <ac:chgData name="Meyer Raphael (KOM-PGA-VSF)" userId="79615dfe-ed48-4e74-a40f-4f7b034c1c27" providerId="ADAL" clId="{96D77013-12DF-4911-886E-DED6CCA30677}" dt="2020-12-09T12:17:17.049" v="3906"/>
          <ac:spMkLst>
            <pc:docMk/>
            <pc:sldMk cId="1400085580" sldId="314"/>
            <ac:spMk id="36" creationId="{77EF0EBC-5E63-4D8F-A51F-7418944B84D1}"/>
          </ac:spMkLst>
        </pc:spChg>
        <pc:spChg chg="del">
          <ac:chgData name="Meyer Raphael (KOM-PGA-VSF)" userId="79615dfe-ed48-4e74-a40f-4f7b034c1c27" providerId="ADAL" clId="{96D77013-12DF-4911-886E-DED6CCA30677}" dt="2020-12-09T12:17:26.591" v="3907" actId="478"/>
          <ac:spMkLst>
            <pc:docMk/>
            <pc:sldMk cId="1400085580" sldId="314"/>
            <ac:spMk id="37" creationId="{16628D91-C37D-41C8-A84A-DDEB3E2C1246}"/>
          </ac:spMkLst>
        </pc:spChg>
        <pc:spChg chg="add">
          <ac:chgData name="Meyer Raphael (KOM-PGA-VSF)" userId="79615dfe-ed48-4e74-a40f-4f7b034c1c27" providerId="ADAL" clId="{96D77013-12DF-4911-886E-DED6CCA30677}" dt="2020-12-09T12:17:17.049" v="3906"/>
          <ac:spMkLst>
            <pc:docMk/>
            <pc:sldMk cId="1400085580" sldId="314"/>
            <ac:spMk id="38" creationId="{98CC3272-9A08-4A49-892B-DFCC8D37F01A}"/>
          </ac:spMkLst>
        </pc:spChg>
        <pc:spChg chg="add">
          <ac:chgData name="Meyer Raphael (KOM-PGA-VSF)" userId="79615dfe-ed48-4e74-a40f-4f7b034c1c27" providerId="ADAL" clId="{96D77013-12DF-4911-886E-DED6CCA30677}" dt="2020-12-09T12:17:17.049" v="3906"/>
          <ac:spMkLst>
            <pc:docMk/>
            <pc:sldMk cId="1400085580" sldId="314"/>
            <ac:spMk id="39" creationId="{271B2F03-6D9F-4D45-A90F-2AB75E32CC02}"/>
          </ac:spMkLst>
        </pc:spChg>
        <pc:spChg chg="add">
          <ac:chgData name="Meyer Raphael (KOM-PGA-VSF)" userId="79615dfe-ed48-4e74-a40f-4f7b034c1c27" providerId="ADAL" clId="{96D77013-12DF-4911-886E-DED6CCA30677}" dt="2020-12-09T12:17:17.049" v="3906"/>
          <ac:spMkLst>
            <pc:docMk/>
            <pc:sldMk cId="1400085580" sldId="314"/>
            <ac:spMk id="40" creationId="{68C34AD2-4FDE-4E6F-A51B-79ECB934489F}"/>
          </ac:spMkLst>
        </pc:spChg>
        <pc:spChg chg="add mod">
          <ac:chgData name="Meyer Raphael (KOM-PGA-VSF)" userId="79615dfe-ed48-4e74-a40f-4f7b034c1c27" providerId="ADAL" clId="{96D77013-12DF-4911-886E-DED6CCA30677}" dt="2020-12-09T12:17:39.233" v="3909" actId="1037"/>
          <ac:spMkLst>
            <pc:docMk/>
            <pc:sldMk cId="1400085580" sldId="314"/>
            <ac:spMk id="41" creationId="{75A59D42-1C71-4F30-8F29-EDA666AECD3A}"/>
          </ac:spMkLst>
        </pc:spChg>
        <pc:spChg chg="add mod">
          <ac:chgData name="Meyer Raphael (KOM-PGA-VSF)" userId="79615dfe-ed48-4e74-a40f-4f7b034c1c27" providerId="ADAL" clId="{96D77013-12DF-4911-886E-DED6CCA30677}" dt="2020-12-09T12:17:39.233" v="3909" actId="1037"/>
          <ac:spMkLst>
            <pc:docMk/>
            <pc:sldMk cId="1400085580" sldId="314"/>
            <ac:spMk id="42" creationId="{4DC1F278-AE59-4E46-A9B8-EB5E9E322CAC}"/>
          </ac:spMkLst>
        </pc:spChg>
        <pc:spChg chg="add mod">
          <ac:chgData name="Meyer Raphael (KOM-PGA-VSF)" userId="79615dfe-ed48-4e74-a40f-4f7b034c1c27" providerId="ADAL" clId="{96D77013-12DF-4911-886E-DED6CCA30677}" dt="2020-12-09T12:18:37.761" v="3919" actId="20577"/>
          <ac:spMkLst>
            <pc:docMk/>
            <pc:sldMk cId="1400085580" sldId="314"/>
            <ac:spMk id="44" creationId="{8329B916-7DDA-4097-B9A0-217743AFAB65}"/>
          </ac:spMkLst>
        </pc:spChg>
        <pc:cxnChg chg="del mod">
          <ac:chgData name="Meyer Raphael (KOM-PGA-VSF)" userId="79615dfe-ed48-4e74-a40f-4f7b034c1c27" providerId="ADAL" clId="{96D77013-12DF-4911-886E-DED6CCA30677}" dt="2020-12-09T12:18:23.937" v="3916" actId="478"/>
          <ac:cxnSpMkLst>
            <pc:docMk/>
            <pc:sldMk cId="1400085580" sldId="314"/>
            <ac:cxnSpMk id="20" creationId="{07FCC63F-5E2F-43DF-84ED-5FFEC92A0042}"/>
          </ac:cxnSpMkLst>
        </pc:cxnChg>
        <pc:cxnChg chg="mod">
          <ac:chgData name="Meyer Raphael (KOM-PGA-VSF)" userId="79615dfe-ed48-4e74-a40f-4f7b034c1c27" providerId="ADAL" clId="{96D77013-12DF-4911-886E-DED6CCA30677}" dt="2020-12-09T12:16:23.171" v="3900" actId="1035"/>
          <ac:cxnSpMkLst>
            <pc:docMk/>
            <pc:sldMk cId="1400085580" sldId="314"/>
            <ac:cxnSpMk id="30" creationId="{1D702FCA-793F-404B-84D5-F14C318BFFB3}"/>
          </ac:cxnSpMkLst>
        </pc:cxnChg>
        <pc:cxnChg chg="add">
          <ac:chgData name="Meyer Raphael (KOM-PGA-VSF)" userId="79615dfe-ed48-4e74-a40f-4f7b034c1c27" providerId="ADAL" clId="{96D77013-12DF-4911-886E-DED6CCA30677}" dt="2020-12-09T12:18:34.632" v="3917"/>
          <ac:cxnSpMkLst>
            <pc:docMk/>
            <pc:sldMk cId="1400085580" sldId="314"/>
            <ac:cxnSpMk id="43" creationId="{E4068DFE-A9E3-4D7D-95FF-29F929489F94}"/>
          </ac:cxnSpMkLst>
        </pc:cxnChg>
      </pc:sldChg>
      <pc:sldChg chg="addSp delSp modSp add">
        <pc:chgData name="Meyer Raphael (KOM-PGA-VSF)" userId="79615dfe-ed48-4e74-a40f-4f7b034c1c27" providerId="ADAL" clId="{96D77013-12DF-4911-886E-DED6CCA30677}" dt="2020-12-16T10:36:27.688" v="4003"/>
        <pc:sldMkLst>
          <pc:docMk/>
          <pc:sldMk cId="2802950074" sldId="315"/>
        </pc:sldMkLst>
        <pc:spChg chg="mod">
          <ac:chgData name="Meyer Raphael (KOM-PGA-VSF)" userId="79615dfe-ed48-4e74-a40f-4f7b034c1c27" providerId="ADAL" clId="{96D77013-12DF-4911-886E-DED6CCA30677}" dt="2020-12-16T10:35:04.306" v="3989"/>
          <ac:spMkLst>
            <pc:docMk/>
            <pc:sldMk cId="2802950074" sldId="315"/>
            <ac:spMk id="2" creationId="{A2DC317F-F1F4-4624-8FC1-3B68C1DBB3DA}"/>
          </ac:spMkLst>
        </pc:spChg>
        <pc:spChg chg="del">
          <ac:chgData name="Meyer Raphael (KOM-PGA-VSF)" userId="79615dfe-ed48-4e74-a40f-4f7b034c1c27" providerId="ADAL" clId="{96D77013-12DF-4911-886E-DED6CCA30677}" dt="2020-12-16T10:35:19.274" v="3991" actId="478"/>
          <ac:spMkLst>
            <pc:docMk/>
            <pc:sldMk cId="2802950074" sldId="315"/>
            <ac:spMk id="7" creationId="{BA3F9A72-0541-4D1F-8CD8-1C2B8074FA1B}"/>
          </ac:spMkLst>
        </pc:spChg>
        <pc:spChg chg="del mod">
          <ac:chgData name="Meyer Raphael (KOM-PGA-VSF)" userId="79615dfe-ed48-4e74-a40f-4f7b034c1c27" providerId="ADAL" clId="{96D77013-12DF-4911-886E-DED6CCA30677}" dt="2020-12-16T10:35:48.789" v="3997" actId="478"/>
          <ac:spMkLst>
            <pc:docMk/>
            <pc:sldMk cId="2802950074" sldId="315"/>
            <ac:spMk id="8" creationId="{5857C2A1-2CB8-4D4A-AEFD-E809BF73D04F}"/>
          </ac:spMkLst>
        </pc:spChg>
        <pc:spChg chg="del">
          <ac:chgData name="Meyer Raphael (KOM-PGA-VSF)" userId="79615dfe-ed48-4e74-a40f-4f7b034c1c27" providerId="ADAL" clId="{96D77013-12DF-4911-886E-DED6CCA30677}" dt="2020-12-16T10:35:19.274" v="3991" actId="478"/>
          <ac:spMkLst>
            <pc:docMk/>
            <pc:sldMk cId="2802950074" sldId="315"/>
            <ac:spMk id="9" creationId="{B6990B61-32B2-4ADC-BF01-EDF7B4080F97}"/>
          </ac:spMkLst>
        </pc:spChg>
        <pc:spChg chg="mod">
          <ac:chgData name="Meyer Raphael (KOM-PGA-VSF)" userId="79615dfe-ed48-4e74-a40f-4f7b034c1c27" providerId="ADAL" clId="{96D77013-12DF-4911-886E-DED6CCA30677}" dt="2020-12-16T10:35:11.612" v="3990"/>
          <ac:spMkLst>
            <pc:docMk/>
            <pc:sldMk cId="2802950074" sldId="315"/>
            <ac:spMk id="10" creationId="{077DFD58-E5EE-4B68-9325-D935DB04DD40}"/>
          </ac:spMkLst>
        </pc:spChg>
        <pc:spChg chg="del">
          <ac:chgData name="Meyer Raphael (KOM-PGA-VSF)" userId="79615dfe-ed48-4e74-a40f-4f7b034c1c27" providerId="ADAL" clId="{96D77013-12DF-4911-886E-DED6CCA30677}" dt="2020-12-16T10:35:19.274" v="3991" actId="478"/>
          <ac:spMkLst>
            <pc:docMk/>
            <pc:sldMk cId="2802950074" sldId="315"/>
            <ac:spMk id="17" creationId="{785E740C-F94A-4208-8DFD-63A603C16577}"/>
          </ac:spMkLst>
        </pc:spChg>
        <pc:spChg chg="del">
          <ac:chgData name="Meyer Raphael (KOM-PGA-VSF)" userId="79615dfe-ed48-4e74-a40f-4f7b034c1c27" providerId="ADAL" clId="{96D77013-12DF-4911-886E-DED6CCA30677}" dt="2020-12-16T10:35:19.274" v="3991" actId="478"/>
          <ac:spMkLst>
            <pc:docMk/>
            <pc:sldMk cId="2802950074" sldId="315"/>
            <ac:spMk id="26" creationId="{BFD498B5-D73E-4C8A-9FAF-B3547647538C}"/>
          </ac:spMkLst>
        </pc:spChg>
        <pc:spChg chg="mod">
          <ac:chgData name="Meyer Raphael (KOM-PGA-VSF)" userId="79615dfe-ed48-4e74-a40f-4f7b034c1c27" providerId="ADAL" clId="{96D77013-12DF-4911-886E-DED6CCA30677}" dt="2020-12-16T10:36:27.688" v="4003"/>
          <ac:spMkLst>
            <pc:docMk/>
            <pc:sldMk cId="2802950074" sldId="315"/>
            <ac:spMk id="27" creationId="{46A6B042-39EE-4A58-BBAA-13D52264B660}"/>
          </ac:spMkLst>
        </pc:spChg>
        <pc:spChg chg="add">
          <ac:chgData name="Meyer Raphael (KOM-PGA-VSF)" userId="79615dfe-ed48-4e74-a40f-4f7b034c1c27" providerId="ADAL" clId="{96D77013-12DF-4911-886E-DED6CCA30677}" dt="2020-12-16T10:35:29.643" v="3992"/>
          <ac:spMkLst>
            <pc:docMk/>
            <pc:sldMk cId="2802950074" sldId="315"/>
            <ac:spMk id="36" creationId="{D1ECA163-3028-4B34-8370-E5BF606C303D}"/>
          </ac:spMkLst>
        </pc:spChg>
        <pc:spChg chg="add">
          <ac:chgData name="Meyer Raphael (KOM-PGA-VSF)" userId="79615dfe-ed48-4e74-a40f-4f7b034c1c27" providerId="ADAL" clId="{96D77013-12DF-4911-886E-DED6CCA30677}" dt="2020-12-16T10:35:29.643" v="3992"/>
          <ac:spMkLst>
            <pc:docMk/>
            <pc:sldMk cId="2802950074" sldId="315"/>
            <ac:spMk id="38" creationId="{B76B9B6A-1189-4216-8860-3FB334B075CB}"/>
          </ac:spMkLst>
        </pc:spChg>
        <pc:spChg chg="add">
          <ac:chgData name="Meyer Raphael (KOM-PGA-VSF)" userId="79615dfe-ed48-4e74-a40f-4f7b034c1c27" providerId="ADAL" clId="{96D77013-12DF-4911-886E-DED6CCA30677}" dt="2020-12-16T10:35:29.643" v="3992"/>
          <ac:spMkLst>
            <pc:docMk/>
            <pc:sldMk cId="2802950074" sldId="315"/>
            <ac:spMk id="39" creationId="{710A1E67-CE78-4A34-B851-697CC5360C65}"/>
          </ac:spMkLst>
        </pc:spChg>
        <pc:spChg chg="add">
          <ac:chgData name="Meyer Raphael (KOM-PGA-VSF)" userId="79615dfe-ed48-4e74-a40f-4f7b034c1c27" providerId="ADAL" clId="{96D77013-12DF-4911-886E-DED6CCA30677}" dt="2020-12-16T10:35:29.643" v="3992"/>
          <ac:spMkLst>
            <pc:docMk/>
            <pc:sldMk cId="2802950074" sldId="315"/>
            <ac:spMk id="40" creationId="{309971CC-F792-43B7-A024-CFBE4DE50BFB}"/>
          </ac:spMkLst>
        </pc:spChg>
        <pc:spChg chg="add mod">
          <ac:chgData name="Meyer Raphael (KOM-PGA-VSF)" userId="79615dfe-ed48-4e74-a40f-4f7b034c1c27" providerId="ADAL" clId="{96D77013-12DF-4911-886E-DED6CCA30677}" dt="2020-12-16T10:35:58.792" v="4002" actId="20577"/>
          <ac:spMkLst>
            <pc:docMk/>
            <pc:sldMk cId="2802950074" sldId="315"/>
            <ac:spMk id="42" creationId="{A033A810-BFFD-406C-88F8-2749262D34FE}"/>
          </ac:spMkLst>
        </pc:spChg>
        <pc:cxnChg chg="del mod">
          <ac:chgData name="Meyer Raphael (KOM-PGA-VSF)" userId="79615dfe-ed48-4e74-a40f-4f7b034c1c27" providerId="ADAL" clId="{96D77013-12DF-4911-886E-DED6CCA30677}" dt="2020-12-16T10:35:48.789" v="3997" actId="478"/>
          <ac:cxnSpMkLst>
            <pc:docMk/>
            <pc:sldMk cId="2802950074" sldId="315"/>
            <ac:cxnSpMk id="20" creationId="{07FCC63F-5E2F-43DF-84ED-5FFEC92A0042}"/>
          </ac:cxnSpMkLst>
        </pc:cxnChg>
        <pc:cxnChg chg="add">
          <ac:chgData name="Meyer Raphael (KOM-PGA-VSF)" userId="79615dfe-ed48-4e74-a40f-4f7b034c1c27" providerId="ADAL" clId="{96D77013-12DF-4911-886E-DED6CCA30677}" dt="2020-12-16T10:35:54.417" v="3998"/>
          <ac:cxnSpMkLst>
            <pc:docMk/>
            <pc:sldMk cId="2802950074" sldId="315"/>
            <ac:cxnSpMk id="41" creationId="{F0EC26E9-4A45-4EBB-BA47-C888CB01B42C}"/>
          </ac:cxnSpMkLst>
        </pc:cxnChg>
      </pc:sldChg>
      <pc:sldChg chg="addSp delSp modSp add">
        <pc:chgData name="Meyer Raphael (KOM-PGA-VSF)" userId="79615dfe-ed48-4e74-a40f-4f7b034c1c27" providerId="ADAL" clId="{96D77013-12DF-4911-886E-DED6CCA30677}" dt="2020-12-16T10:38:38.975" v="4017"/>
        <pc:sldMkLst>
          <pc:docMk/>
          <pc:sldMk cId="3685268070" sldId="316"/>
        </pc:sldMkLst>
        <pc:spChg chg="mod">
          <ac:chgData name="Meyer Raphael (KOM-PGA-VSF)" userId="79615dfe-ed48-4e74-a40f-4f7b034c1c27" providerId="ADAL" clId="{96D77013-12DF-4911-886E-DED6CCA30677}" dt="2020-12-16T10:37:16.308" v="4005"/>
          <ac:spMkLst>
            <pc:docMk/>
            <pc:sldMk cId="3685268070" sldId="316"/>
            <ac:spMk id="2" creationId="{A2DC317F-F1F4-4624-8FC1-3B68C1DBB3DA}"/>
          </ac:spMkLst>
        </pc:spChg>
        <pc:spChg chg="del">
          <ac:chgData name="Meyer Raphael (KOM-PGA-VSF)" userId="79615dfe-ed48-4e74-a40f-4f7b034c1c27" providerId="ADAL" clId="{96D77013-12DF-4911-886E-DED6CCA30677}" dt="2020-12-16T10:37:45.143" v="4007" actId="478"/>
          <ac:spMkLst>
            <pc:docMk/>
            <pc:sldMk cId="3685268070" sldId="316"/>
            <ac:spMk id="7" creationId="{BA3F9A72-0541-4D1F-8CD8-1C2B8074FA1B}"/>
          </ac:spMkLst>
        </pc:spChg>
        <pc:spChg chg="del">
          <ac:chgData name="Meyer Raphael (KOM-PGA-VSF)" userId="79615dfe-ed48-4e74-a40f-4f7b034c1c27" providerId="ADAL" clId="{96D77013-12DF-4911-886E-DED6CCA30677}" dt="2020-12-16T10:37:45.143" v="4007" actId="478"/>
          <ac:spMkLst>
            <pc:docMk/>
            <pc:sldMk cId="3685268070" sldId="316"/>
            <ac:spMk id="8" creationId="{5857C2A1-2CB8-4D4A-AEFD-E809BF73D04F}"/>
          </ac:spMkLst>
        </pc:spChg>
        <pc:spChg chg="del">
          <ac:chgData name="Meyer Raphael (KOM-PGA-VSF)" userId="79615dfe-ed48-4e74-a40f-4f7b034c1c27" providerId="ADAL" clId="{96D77013-12DF-4911-886E-DED6CCA30677}" dt="2020-12-16T10:37:45.143" v="4007" actId="478"/>
          <ac:spMkLst>
            <pc:docMk/>
            <pc:sldMk cId="3685268070" sldId="316"/>
            <ac:spMk id="9" creationId="{B6990B61-32B2-4ADC-BF01-EDF7B4080F97}"/>
          </ac:spMkLst>
        </pc:spChg>
        <pc:spChg chg="mod">
          <ac:chgData name="Meyer Raphael (KOM-PGA-VSF)" userId="79615dfe-ed48-4e74-a40f-4f7b034c1c27" providerId="ADAL" clId="{96D77013-12DF-4911-886E-DED6CCA30677}" dt="2020-12-16T10:37:23.470" v="4006"/>
          <ac:spMkLst>
            <pc:docMk/>
            <pc:sldMk cId="3685268070" sldId="316"/>
            <ac:spMk id="10" creationId="{077DFD58-E5EE-4B68-9325-D935DB04DD40}"/>
          </ac:spMkLst>
        </pc:spChg>
        <pc:spChg chg="del">
          <ac:chgData name="Meyer Raphael (KOM-PGA-VSF)" userId="79615dfe-ed48-4e74-a40f-4f7b034c1c27" providerId="ADAL" clId="{96D77013-12DF-4911-886E-DED6CCA30677}" dt="2020-12-16T10:37:45.143" v="4007" actId="478"/>
          <ac:spMkLst>
            <pc:docMk/>
            <pc:sldMk cId="3685268070" sldId="316"/>
            <ac:spMk id="17" creationId="{785E740C-F94A-4208-8DFD-63A603C16577}"/>
          </ac:spMkLst>
        </pc:spChg>
        <pc:spChg chg="del">
          <ac:chgData name="Meyer Raphael (KOM-PGA-VSF)" userId="79615dfe-ed48-4e74-a40f-4f7b034c1c27" providerId="ADAL" clId="{96D77013-12DF-4911-886E-DED6CCA30677}" dt="2020-12-16T10:37:45.143" v="4007" actId="478"/>
          <ac:spMkLst>
            <pc:docMk/>
            <pc:sldMk cId="3685268070" sldId="316"/>
            <ac:spMk id="26" creationId="{BFD498B5-D73E-4C8A-9FAF-B3547647538C}"/>
          </ac:spMkLst>
        </pc:spChg>
        <pc:spChg chg="mod">
          <ac:chgData name="Meyer Raphael (KOM-PGA-VSF)" userId="79615dfe-ed48-4e74-a40f-4f7b034c1c27" providerId="ADAL" clId="{96D77013-12DF-4911-886E-DED6CCA30677}" dt="2020-12-16T10:38:21.528" v="4015" actId="14100"/>
          <ac:spMkLst>
            <pc:docMk/>
            <pc:sldMk cId="3685268070" sldId="316"/>
            <ac:spMk id="27" creationId="{46A6B042-39EE-4A58-BBAA-13D52264B660}"/>
          </ac:spMkLst>
        </pc:spChg>
        <pc:spChg chg="del">
          <ac:chgData name="Meyer Raphael (KOM-PGA-VSF)" userId="79615dfe-ed48-4e74-a40f-4f7b034c1c27" providerId="ADAL" clId="{96D77013-12DF-4911-886E-DED6CCA30677}" dt="2020-12-16T10:38:31.044" v="4016" actId="478"/>
          <ac:spMkLst>
            <pc:docMk/>
            <pc:sldMk cId="3685268070" sldId="316"/>
            <ac:spMk id="33" creationId="{A80F7DEC-022D-4493-8CDE-E61BC06E6C43}"/>
          </ac:spMkLst>
        </pc:spChg>
        <pc:spChg chg="add">
          <ac:chgData name="Meyer Raphael (KOM-PGA-VSF)" userId="79615dfe-ed48-4e74-a40f-4f7b034c1c27" providerId="ADAL" clId="{96D77013-12DF-4911-886E-DED6CCA30677}" dt="2020-12-16T10:37:56.634" v="4008"/>
          <ac:spMkLst>
            <pc:docMk/>
            <pc:sldMk cId="3685268070" sldId="316"/>
            <ac:spMk id="36" creationId="{7D90DEEA-F6D4-41F5-A9E1-CDEB18E8EDC7}"/>
          </ac:spMkLst>
        </pc:spChg>
        <pc:spChg chg="del">
          <ac:chgData name="Meyer Raphael (KOM-PGA-VSF)" userId="79615dfe-ed48-4e74-a40f-4f7b034c1c27" providerId="ADAL" clId="{96D77013-12DF-4911-886E-DED6CCA30677}" dt="2020-12-16T10:38:31.044" v="4016" actId="478"/>
          <ac:spMkLst>
            <pc:docMk/>
            <pc:sldMk cId="3685268070" sldId="316"/>
            <ac:spMk id="37" creationId="{16628D91-C37D-41C8-A84A-DDEB3E2C1246}"/>
          </ac:spMkLst>
        </pc:spChg>
        <pc:spChg chg="add">
          <ac:chgData name="Meyer Raphael (KOM-PGA-VSF)" userId="79615dfe-ed48-4e74-a40f-4f7b034c1c27" providerId="ADAL" clId="{96D77013-12DF-4911-886E-DED6CCA30677}" dt="2020-12-16T10:37:56.634" v="4008"/>
          <ac:spMkLst>
            <pc:docMk/>
            <pc:sldMk cId="3685268070" sldId="316"/>
            <ac:spMk id="38" creationId="{BF30C599-8178-4CC0-B638-8823F727CB83}"/>
          </ac:spMkLst>
        </pc:spChg>
        <pc:spChg chg="add">
          <ac:chgData name="Meyer Raphael (KOM-PGA-VSF)" userId="79615dfe-ed48-4e74-a40f-4f7b034c1c27" providerId="ADAL" clId="{96D77013-12DF-4911-886E-DED6CCA30677}" dt="2020-12-16T10:37:56.634" v="4008"/>
          <ac:spMkLst>
            <pc:docMk/>
            <pc:sldMk cId="3685268070" sldId="316"/>
            <ac:spMk id="39" creationId="{365230FE-8828-4775-853A-DF6C4E5F1897}"/>
          </ac:spMkLst>
        </pc:spChg>
        <pc:spChg chg="add">
          <ac:chgData name="Meyer Raphael (KOM-PGA-VSF)" userId="79615dfe-ed48-4e74-a40f-4f7b034c1c27" providerId="ADAL" clId="{96D77013-12DF-4911-886E-DED6CCA30677}" dt="2020-12-16T10:37:56.634" v="4008"/>
          <ac:spMkLst>
            <pc:docMk/>
            <pc:sldMk cId="3685268070" sldId="316"/>
            <ac:spMk id="40" creationId="{62BE60E6-816B-489B-BE9A-F4CD04D64B5C}"/>
          </ac:spMkLst>
        </pc:spChg>
        <pc:spChg chg="add mod">
          <ac:chgData name="Meyer Raphael (KOM-PGA-VSF)" userId="79615dfe-ed48-4e74-a40f-4f7b034c1c27" providerId="ADAL" clId="{96D77013-12DF-4911-886E-DED6CCA30677}" dt="2020-12-16T10:38:06.982" v="4013" actId="20577"/>
          <ac:spMkLst>
            <pc:docMk/>
            <pc:sldMk cId="3685268070" sldId="316"/>
            <ac:spMk id="41" creationId="{DD1D7DED-B5E6-4EA2-9113-4A179D74E57F}"/>
          </ac:spMkLst>
        </pc:spChg>
        <pc:spChg chg="add">
          <ac:chgData name="Meyer Raphael (KOM-PGA-VSF)" userId="79615dfe-ed48-4e74-a40f-4f7b034c1c27" providerId="ADAL" clId="{96D77013-12DF-4911-886E-DED6CCA30677}" dt="2020-12-16T10:38:38.975" v="4017"/>
          <ac:spMkLst>
            <pc:docMk/>
            <pc:sldMk cId="3685268070" sldId="316"/>
            <ac:spMk id="42" creationId="{45D2AD9C-FD02-46F0-8A24-212A623BF6AE}"/>
          </ac:spMkLst>
        </pc:spChg>
        <pc:spChg chg="add">
          <ac:chgData name="Meyer Raphael (KOM-PGA-VSF)" userId="79615dfe-ed48-4e74-a40f-4f7b034c1c27" providerId="ADAL" clId="{96D77013-12DF-4911-886E-DED6CCA30677}" dt="2020-12-16T10:38:38.975" v="4017"/>
          <ac:spMkLst>
            <pc:docMk/>
            <pc:sldMk cId="3685268070" sldId="316"/>
            <ac:spMk id="43" creationId="{CF9BADE2-CECA-430A-BEBC-81B9FB4ED3CE}"/>
          </ac:spMkLst>
        </pc:spChg>
        <pc:cxnChg chg="mod">
          <ac:chgData name="Meyer Raphael (KOM-PGA-VSF)" userId="79615dfe-ed48-4e74-a40f-4f7b034c1c27" providerId="ADAL" clId="{96D77013-12DF-4911-886E-DED6CCA30677}" dt="2020-12-16T10:37:45.143" v="4007" actId="478"/>
          <ac:cxnSpMkLst>
            <pc:docMk/>
            <pc:sldMk cId="3685268070" sldId="316"/>
            <ac:cxnSpMk id="20" creationId="{07FCC63F-5E2F-43DF-84ED-5FFEC92A0042}"/>
          </ac:cxnSpMkLst>
        </pc:cxnChg>
      </pc:sldChg>
      <pc:sldMasterChg chg="addSp modSp">
        <pc:chgData name="Meyer Raphael (KOM-PGA-VSF)" userId="79615dfe-ed48-4e74-a40f-4f7b034c1c27" providerId="ADAL" clId="{96D77013-12DF-4911-886E-DED6CCA30677}" dt="2020-11-17T07:41:59.303" v="941"/>
        <pc:sldMasterMkLst>
          <pc:docMk/>
          <pc:sldMasterMk cId="3307758698" sldId="2147483660"/>
        </pc:sldMasterMkLst>
        <pc:spChg chg="add mod ord modVis">
          <ac:chgData name="Meyer Raphael (KOM-PGA-VSF)" userId="79615dfe-ed48-4e74-a40f-4f7b034c1c27" providerId="ADAL" clId="{96D77013-12DF-4911-886E-DED6CCA30677}" dt="2020-11-17T07:41:59.303" v="941"/>
          <ac:spMkLst>
            <pc:docMk/>
            <pc:sldMasterMk cId="3307758698" sldId="2147483660"/>
            <ac:spMk id="7" creationId="{1E4D2D91-D134-4644-9D78-F6F8D7DE1E45}"/>
          </ac:spMkLst>
        </pc:spChg>
      </pc:sldMasterChg>
    </pc:docChg>
  </pc:docChgLst>
  <pc:docChgLst>
    <pc:chgData name="Meyer Raphael (PAR-ES)" userId="79615dfe-ed48-4e74-a40f-4f7b034c1c27" providerId="ADAL" clId="{82637165-BD6C-463E-9368-D87AAFC267FD}"/>
    <pc:docChg chg="undo custSel addSld delSld modSld sldOrd">
      <pc:chgData name="Meyer Raphael (PAR-ES)" userId="79615dfe-ed48-4e74-a40f-4f7b034c1c27" providerId="ADAL" clId="{82637165-BD6C-463E-9368-D87AAFC267FD}" dt="2021-05-07T08:27:30.560" v="98" actId="2696"/>
      <pc:docMkLst>
        <pc:docMk/>
      </pc:docMkLst>
      <pc:sldChg chg="modSp mod">
        <pc:chgData name="Meyer Raphael (PAR-ES)" userId="79615dfe-ed48-4e74-a40f-4f7b034c1c27" providerId="ADAL" clId="{82637165-BD6C-463E-9368-D87AAFC267FD}" dt="2021-05-07T08:24:10.739" v="73" actId="20577"/>
        <pc:sldMkLst>
          <pc:docMk/>
          <pc:sldMk cId="1667945532" sldId="306"/>
        </pc:sldMkLst>
        <pc:spChg chg="mod">
          <ac:chgData name="Meyer Raphael (PAR-ES)" userId="79615dfe-ed48-4e74-a40f-4f7b034c1c27" providerId="ADAL" clId="{82637165-BD6C-463E-9368-D87AAFC267FD}" dt="2021-05-07T08:23:19.347" v="55" actId="20577"/>
          <ac:spMkLst>
            <pc:docMk/>
            <pc:sldMk cId="1667945532" sldId="306"/>
            <ac:spMk id="8" creationId="{5857C2A1-2CB8-4D4A-AEFD-E809BF73D04F}"/>
          </ac:spMkLst>
        </pc:spChg>
        <pc:spChg chg="mod">
          <ac:chgData name="Meyer Raphael (PAR-ES)" userId="79615dfe-ed48-4e74-a40f-4f7b034c1c27" providerId="ADAL" clId="{82637165-BD6C-463E-9368-D87AAFC267FD}" dt="2021-05-07T08:23:49.403" v="65" actId="20577"/>
          <ac:spMkLst>
            <pc:docMk/>
            <pc:sldMk cId="1667945532" sldId="306"/>
            <ac:spMk id="27" creationId="{46A6B042-39EE-4A58-BBAA-13D52264B660}"/>
          </ac:spMkLst>
        </pc:spChg>
        <pc:spChg chg="mod">
          <ac:chgData name="Meyer Raphael (PAR-ES)" userId="79615dfe-ed48-4e74-a40f-4f7b034c1c27" providerId="ADAL" clId="{82637165-BD6C-463E-9368-D87AAFC267FD}" dt="2021-05-07T08:22:32.610" v="49" actId="1037"/>
          <ac:spMkLst>
            <pc:docMk/>
            <pc:sldMk cId="1667945532" sldId="306"/>
            <ac:spMk id="28" creationId="{4492A3CD-6943-423D-BFEC-8129889E8B6F}"/>
          </ac:spMkLst>
        </pc:spChg>
        <pc:spChg chg="mod">
          <ac:chgData name="Meyer Raphael (PAR-ES)" userId="79615dfe-ed48-4e74-a40f-4f7b034c1c27" providerId="ADAL" clId="{82637165-BD6C-463E-9368-D87AAFC267FD}" dt="2021-05-07T08:24:10.739" v="73" actId="20577"/>
          <ac:spMkLst>
            <pc:docMk/>
            <pc:sldMk cId="1667945532" sldId="306"/>
            <ac:spMk id="31" creationId="{7491A47D-CAD4-478D-8F3A-296FFCB799F9}"/>
          </ac:spMkLst>
        </pc:spChg>
        <pc:spChg chg="mod">
          <ac:chgData name="Meyer Raphael (PAR-ES)" userId="79615dfe-ed48-4e74-a40f-4f7b034c1c27" providerId="ADAL" clId="{82637165-BD6C-463E-9368-D87AAFC267FD}" dt="2021-05-07T08:19:21.362" v="21" actId="1076"/>
          <ac:spMkLst>
            <pc:docMk/>
            <pc:sldMk cId="1667945532" sldId="306"/>
            <ac:spMk id="32" creationId="{E65DDA4F-7190-4D5B-B875-6818D18C9F6E}"/>
          </ac:spMkLst>
        </pc:spChg>
        <pc:cxnChg chg="mod">
          <ac:chgData name="Meyer Raphael (PAR-ES)" userId="79615dfe-ed48-4e74-a40f-4f7b034c1c27" providerId="ADAL" clId="{82637165-BD6C-463E-9368-D87AAFC267FD}" dt="2021-05-07T08:19:43.136" v="24" actId="1038"/>
          <ac:cxnSpMkLst>
            <pc:docMk/>
            <pc:sldMk cId="1667945532" sldId="306"/>
            <ac:cxnSpMk id="29" creationId="{FD3E902F-283F-48FC-9504-FF2FF4EA4BF0}"/>
          </ac:cxnSpMkLst>
        </pc:cxnChg>
        <pc:cxnChg chg="mod">
          <ac:chgData name="Meyer Raphael (PAR-ES)" userId="79615dfe-ed48-4e74-a40f-4f7b034c1c27" providerId="ADAL" clId="{82637165-BD6C-463E-9368-D87AAFC267FD}" dt="2021-05-07T08:22:59.800" v="53" actId="1038"/>
          <ac:cxnSpMkLst>
            <pc:docMk/>
            <pc:sldMk cId="1667945532" sldId="306"/>
            <ac:cxnSpMk id="30" creationId="{1D702FCA-793F-404B-84D5-F14C318BFFB3}"/>
          </ac:cxnSpMkLst>
        </pc:cxnChg>
      </pc:sldChg>
      <pc:sldChg chg="del">
        <pc:chgData name="Meyer Raphael (PAR-ES)" userId="79615dfe-ed48-4e74-a40f-4f7b034c1c27" providerId="ADAL" clId="{82637165-BD6C-463E-9368-D87AAFC267FD}" dt="2021-05-07T08:27:30.560" v="98" actId="2696"/>
        <pc:sldMkLst>
          <pc:docMk/>
          <pc:sldMk cId="3739047188" sldId="350"/>
        </pc:sldMkLst>
      </pc:sldChg>
      <pc:sldChg chg="del">
        <pc:chgData name="Meyer Raphael (PAR-ES)" userId="79615dfe-ed48-4e74-a40f-4f7b034c1c27" providerId="ADAL" clId="{82637165-BD6C-463E-9368-D87AAFC267FD}" dt="2021-05-07T08:25:58.183" v="88" actId="2696"/>
        <pc:sldMkLst>
          <pc:docMk/>
          <pc:sldMk cId="2393230848" sldId="351"/>
        </pc:sldMkLst>
      </pc:sldChg>
      <pc:sldChg chg="addSp delSp modSp add mod ord">
        <pc:chgData name="Meyer Raphael (PAR-ES)" userId="79615dfe-ed48-4e74-a40f-4f7b034c1c27" providerId="ADAL" clId="{82637165-BD6C-463E-9368-D87AAFC267FD}" dt="2021-05-07T08:25:44.501" v="87"/>
        <pc:sldMkLst>
          <pc:docMk/>
          <pc:sldMk cId="258869739" sldId="352"/>
        </pc:sldMkLst>
        <pc:spChg chg="mod">
          <ac:chgData name="Meyer Raphael (PAR-ES)" userId="79615dfe-ed48-4e74-a40f-4f7b034c1c27" providerId="ADAL" clId="{82637165-BD6C-463E-9368-D87AAFC267FD}" dt="2021-05-07T08:25:14.962" v="83"/>
          <ac:spMkLst>
            <pc:docMk/>
            <pc:sldMk cId="258869739" sldId="352"/>
            <ac:spMk id="2" creationId="{A2DC317F-F1F4-4624-8FC1-3B68C1DBB3DA}"/>
          </ac:spMkLst>
        </pc:spChg>
        <pc:spChg chg="del">
          <ac:chgData name="Meyer Raphael (PAR-ES)" userId="79615dfe-ed48-4e74-a40f-4f7b034c1c27" providerId="ADAL" clId="{82637165-BD6C-463E-9368-D87AAFC267FD}" dt="2021-05-07T08:24:57.451" v="81" actId="478"/>
          <ac:spMkLst>
            <pc:docMk/>
            <pc:sldMk cId="258869739" sldId="352"/>
            <ac:spMk id="7" creationId="{BA3F9A72-0541-4D1F-8CD8-1C2B8074FA1B}"/>
          </ac:spMkLst>
        </pc:spChg>
        <pc:spChg chg="mod">
          <ac:chgData name="Meyer Raphael (PAR-ES)" userId="79615dfe-ed48-4e74-a40f-4f7b034c1c27" providerId="ADAL" clId="{82637165-BD6C-463E-9368-D87AAFC267FD}" dt="2021-05-07T08:25:33.603" v="86" actId="14100"/>
          <ac:spMkLst>
            <pc:docMk/>
            <pc:sldMk cId="258869739" sldId="352"/>
            <ac:spMk id="8" creationId="{5857C2A1-2CB8-4D4A-AEFD-E809BF73D04F}"/>
          </ac:spMkLst>
        </pc:spChg>
        <pc:spChg chg="del">
          <ac:chgData name="Meyer Raphael (PAR-ES)" userId="79615dfe-ed48-4e74-a40f-4f7b034c1c27" providerId="ADAL" clId="{82637165-BD6C-463E-9368-D87AAFC267FD}" dt="2021-05-07T08:24:57.451" v="81" actId="478"/>
          <ac:spMkLst>
            <pc:docMk/>
            <pc:sldMk cId="258869739" sldId="352"/>
            <ac:spMk id="9" creationId="{B6990B61-32B2-4ADC-BF01-EDF7B4080F97}"/>
          </ac:spMkLst>
        </pc:spChg>
        <pc:spChg chg="mod">
          <ac:chgData name="Meyer Raphael (PAR-ES)" userId="79615dfe-ed48-4e74-a40f-4f7b034c1c27" providerId="ADAL" clId="{82637165-BD6C-463E-9368-D87AAFC267FD}" dt="2021-05-07T08:25:23.092" v="84"/>
          <ac:spMkLst>
            <pc:docMk/>
            <pc:sldMk cId="258869739" sldId="352"/>
            <ac:spMk id="10" creationId="{077DFD58-E5EE-4B68-9325-D935DB04DD40}"/>
          </ac:spMkLst>
        </pc:spChg>
        <pc:spChg chg="del">
          <ac:chgData name="Meyer Raphael (PAR-ES)" userId="79615dfe-ed48-4e74-a40f-4f7b034c1c27" providerId="ADAL" clId="{82637165-BD6C-463E-9368-D87AAFC267FD}" dt="2021-05-07T08:24:57.451" v="81" actId="478"/>
          <ac:spMkLst>
            <pc:docMk/>
            <pc:sldMk cId="258869739" sldId="352"/>
            <ac:spMk id="17" creationId="{785E740C-F94A-4208-8DFD-63A603C16577}"/>
          </ac:spMkLst>
        </pc:spChg>
        <pc:spChg chg="add mod">
          <ac:chgData name="Meyer Raphael (PAR-ES)" userId="79615dfe-ed48-4e74-a40f-4f7b034c1c27" providerId="ADAL" clId="{82637165-BD6C-463E-9368-D87AAFC267FD}" dt="2021-05-07T08:25:05.397" v="82"/>
          <ac:spMkLst>
            <pc:docMk/>
            <pc:sldMk cId="258869739" sldId="352"/>
            <ac:spMk id="21" creationId="{225F8337-C3FF-4CEB-A181-B1B32D72317B}"/>
          </ac:spMkLst>
        </pc:spChg>
        <pc:spChg chg="add mod">
          <ac:chgData name="Meyer Raphael (PAR-ES)" userId="79615dfe-ed48-4e74-a40f-4f7b034c1c27" providerId="ADAL" clId="{82637165-BD6C-463E-9368-D87AAFC267FD}" dt="2021-05-07T08:25:05.397" v="82"/>
          <ac:spMkLst>
            <pc:docMk/>
            <pc:sldMk cId="258869739" sldId="352"/>
            <ac:spMk id="22" creationId="{B5FD2E8E-AE89-4E27-9BBC-7D565A76C919}"/>
          </ac:spMkLst>
        </pc:spChg>
        <pc:spChg chg="add mod">
          <ac:chgData name="Meyer Raphael (PAR-ES)" userId="79615dfe-ed48-4e74-a40f-4f7b034c1c27" providerId="ADAL" clId="{82637165-BD6C-463E-9368-D87AAFC267FD}" dt="2021-05-07T08:25:05.397" v="82"/>
          <ac:spMkLst>
            <pc:docMk/>
            <pc:sldMk cId="258869739" sldId="352"/>
            <ac:spMk id="23" creationId="{90D2E59A-72A5-403D-B396-28CBDCD1F235}"/>
          </ac:spMkLst>
        </pc:spChg>
        <pc:spChg chg="add mod">
          <ac:chgData name="Meyer Raphael (PAR-ES)" userId="79615dfe-ed48-4e74-a40f-4f7b034c1c27" providerId="ADAL" clId="{82637165-BD6C-463E-9368-D87AAFC267FD}" dt="2021-05-07T08:25:05.397" v="82"/>
          <ac:spMkLst>
            <pc:docMk/>
            <pc:sldMk cId="258869739" sldId="352"/>
            <ac:spMk id="25" creationId="{57B8763A-F885-4C9A-840D-34497D986AAA}"/>
          </ac:spMkLst>
        </pc:spChg>
        <pc:spChg chg="del mod">
          <ac:chgData name="Meyer Raphael (PAR-ES)" userId="79615dfe-ed48-4e74-a40f-4f7b034c1c27" providerId="ADAL" clId="{82637165-BD6C-463E-9368-D87AAFC267FD}" dt="2021-05-07T08:24:57.451" v="81" actId="478"/>
          <ac:spMkLst>
            <pc:docMk/>
            <pc:sldMk cId="258869739" sldId="352"/>
            <ac:spMk id="26" creationId="{BFD498B5-D73E-4C8A-9FAF-B3547647538C}"/>
          </ac:spMkLst>
        </pc:spChg>
        <pc:spChg chg="mod">
          <ac:chgData name="Meyer Raphael (PAR-ES)" userId="79615dfe-ed48-4e74-a40f-4f7b034c1c27" providerId="ADAL" clId="{82637165-BD6C-463E-9368-D87AAFC267FD}" dt="2021-05-07T08:25:44.501" v="87"/>
          <ac:spMkLst>
            <pc:docMk/>
            <pc:sldMk cId="258869739" sldId="352"/>
            <ac:spMk id="27" creationId="{46A6B042-39EE-4A58-BBAA-13D52264B660}"/>
          </ac:spMkLst>
        </pc:spChg>
      </pc:sldChg>
      <pc:sldChg chg="addSp delSp modSp add mod ord">
        <pc:chgData name="Meyer Raphael (PAR-ES)" userId="79615dfe-ed48-4e74-a40f-4f7b034c1c27" providerId="ADAL" clId="{82637165-BD6C-463E-9368-D87AAFC267FD}" dt="2021-05-07T08:27:07.666" v="97" actId="14100"/>
        <pc:sldMkLst>
          <pc:docMk/>
          <pc:sldMk cId="1811537745" sldId="353"/>
        </pc:sldMkLst>
        <pc:spChg chg="mod">
          <ac:chgData name="Meyer Raphael (PAR-ES)" userId="79615dfe-ed48-4e74-a40f-4f7b034c1c27" providerId="ADAL" clId="{82637165-BD6C-463E-9368-D87AAFC267FD}" dt="2021-05-07T08:26:22.370" v="91"/>
          <ac:spMkLst>
            <pc:docMk/>
            <pc:sldMk cId="1811537745" sldId="353"/>
            <ac:spMk id="2" creationId="{A2DC317F-F1F4-4624-8FC1-3B68C1DBB3DA}"/>
          </ac:spMkLst>
        </pc:spChg>
        <pc:spChg chg="del">
          <ac:chgData name="Meyer Raphael (PAR-ES)" userId="79615dfe-ed48-4e74-a40f-4f7b034c1c27" providerId="ADAL" clId="{82637165-BD6C-463E-9368-D87AAFC267FD}" dt="2021-05-07T08:26:05.002" v="89" actId="478"/>
          <ac:spMkLst>
            <pc:docMk/>
            <pc:sldMk cId="1811537745" sldId="353"/>
            <ac:spMk id="7" creationId="{BA3F9A72-0541-4D1F-8CD8-1C2B8074FA1B}"/>
          </ac:spMkLst>
        </pc:spChg>
        <pc:spChg chg="mod">
          <ac:chgData name="Meyer Raphael (PAR-ES)" userId="79615dfe-ed48-4e74-a40f-4f7b034c1c27" providerId="ADAL" clId="{82637165-BD6C-463E-9368-D87AAFC267FD}" dt="2021-05-07T08:26:46.400" v="94" actId="14100"/>
          <ac:spMkLst>
            <pc:docMk/>
            <pc:sldMk cId="1811537745" sldId="353"/>
            <ac:spMk id="8" creationId="{5857C2A1-2CB8-4D4A-AEFD-E809BF73D04F}"/>
          </ac:spMkLst>
        </pc:spChg>
        <pc:spChg chg="del">
          <ac:chgData name="Meyer Raphael (PAR-ES)" userId="79615dfe-ed48-4e74-a40f-4f7b034c1c27" providerId="ADAL" clId="{82637165-BD6C-463E-9368-D87AAFC267FD}" dt="2021-05-07T08:26:05.002" v="89" actId="478"/>
          <ac:spMkLst>
            <pc:docMk/>
            <pc:sldMk cId="1811537745" sldId="353"/>
            <ac:spMk id="9" creationId="{B6990B61-32B2-4ADC-BF01-EDF7B4080F97}"/>
          </ac:spMkLst>
        </pc:spChg>
        <pc:spChg chg="mod">
          <ac:chgData name="Meyer Raphael (PAR-ES)" userId="79615dfe-ed48-4e74-a40f-4f7b034c1c27" providerId="ADAL" clId="{82637165-BD6C-463E-9368-D87AAFC267FD}" dt="2021-05-07T08:26:31.795" v="92"/>
          <ac:spMkLst>
            <pc:docMk/>
            <pc:sldMk cId="1811537745" sldId="353"/>
            <ac:spMk id="10" creationId="{077DFD58-E5EE-4B68-9325-D935DB04DD40}"/>
          </ac:spMkLst>
        </pc:spChg>
        <pc:spChg chg="del">
          <ac:chgData name="Meyer Raphael (PAR-ES)" userId="79615dfe-ed48-4e74-a40f-4f7b034c1c27" providerId="ADAL" clId="{82637165-BD6C-463E-9368-D87AAFC267FD}" dt="2021-05-07T08:26:05.002" v="89" actId="478"/>
          <ac:spMkLst>
            <pc:docMk/>
            <pc:sldMk cId="1811537745" sldId="353"/>
            <ac:spMk id="17" creationId="{785E740C-F94A-4208-8DFD-63A603C16577}"/>
          </ac:spMkLst>
        </pc:spChg>
        <pc:spChg chg="add mod">
          <ac:chgData name="Meyer Raphael (PAR-ES)" userId="79615dfe-ed48-4e74-a40f-4f7b034c1c27" providerId="ADAL" clId="{82637165-BD6C-463E-9368-D87AAFC267FD}" dt="2021-05-07T08:26:13.070" v="90"/>
          <ac:spMkLst>
            <pc:docMk/>
            <pc:sldMk cId="1811537745" sldId="353"/>
            <ac:spMk id="21" creationId="{FB2B039D-AD06-478D-BCDB-42071EB5FE08}"/>
          </ac:spMkLst>
        </pc:spChg>
        <pc:spChg chg="add mod">
          <ac:chgData name="Meyer Raphael (PAR-ES)" userId="79615dfe-ed48-4e74-a40f-4f7b034c1c27" providerId="ADAL" clId="{82637165-BD6C-463E-9368-D87AAFC267FD}" dt="2021-05-07T08:26:13.070" v="90"/>
          <ac:spMkLst>
            <pc:docMk/>
            <pc:sldMk cId="1811537745" sldId="353"/>
            <ac:spMk id="22" creationId="{DD1F5D60-0ADD-4851-97F6-B86DA3243C0E}"/>
          </ac:spMkLst>
        </pc:spChg>
        <pc:spChg chg="add mod">
          <ac:chgData name="Meyer Raphael (PAR-ES)" userId="79615dfe-ed48-4e74-a40f-4f7b034c1c27" providerId="ADAL" clId="{82637165-BD6C-463E-9368-D87AAFC267FD}" dt="2021-05-07T08:26:13.070" v="90"/>
          <ac:spMkLst>
            <pc:docMk/>
            <pc:sldMk cId="1811537745" sldId="353"/>
            <ac:spMk id="23" creationId="{50AB6593-6C25-4BD3-A28F-441B06407BBB}"/>
          </ac:spMkLst>
        </pc:spChg>
        <pc:spChg chg="add mod">
          <ac:chgData name="Meyer Raphael (PAR-ES)" userId="79615dfe-ed48-4e74-a40f-4f7b034c1c27" providerId="ADAL" clId="{82637165-BD6C-463E-9368-D87AAFC267FD}" dt="2021-05-07T08:26:13.070" v="90"/>
          <ac:spMkLst>
            <pc:docMk/>
            <pc:sldMk cId="1811537745" sldId="353"/>
            <ac:spMk id="25" creationId="{520C7219-E300-43C6-9806-34A62ED6C94B}"/>
          </ac:spMkLst>
        </pc:spChg>
        <pc:spChg chg="del">
          <ac:chgData name="Meyer Raphael (PAR-ES)" userId="79615dfe-ed48-4e74-a40f-4f7b034c1c27" providerId="ADAL" clId="{82637165-BD6C-463E-9368-D87AAFC267FD}" dt="2021-05-07T08:26:05.002" v="89" actId="478"/>
          <ac:spMkLst>
            <pc:docMk/>
            <pc:sldMk cId="1811537745" sldId="353"/>
            <ac:spMk id="26" creationId="{BFD498B5-D73E-4C8A-9FAF-B3547647538C}"/>
          </ac:spMkLst>
        </pc:spChg>
        <pc:spChg chg="mod">
          <ac:chgData name="Meyer Raphael (PAR-ES)" userId="79615dfe-ed48-4e74-a40f-4f7b034c1c27" providerId="ADAL" clId="{82637165-BD6C-463E-9368-D87AAFC267FD}" dt="2021-05-07T08:27:07.666" v="97" actId="14100"/>
          <ac:spMkLst>
            <pc:docMk/>
            <pc:sldMk cId="1811537745" sldId="353"/>
            <ac:spMk id="27" creationId="{46A6B042-39EE-4A58-BBAA-13D52264B660}"/>
          </ac:spMkLst>
        </pc:spChg>
      </pc:sldChg>
    </pc:docChg>
  </pc:docChgLst>
  <pc:docChgLst>
    <pc:chgData name="Meyer Raphael (PAR-ES)" userId="79615dfe-ed48-4e74-a40f-4f7b034c1c27" providerId="ADAL" clId="{B0E92903-F512-4B5C-8C62-1C6EC17B587B}"/>
    <pc:docChg chg="custSel addSld modSld sldOrd">
      <pc:chgData name="Meyer Raphael (PAR-ES)" userId="79615dfe-ed48-4e74-a40f-4f7b034c1c27" providerId="ADAL" clId="{B0E92903-F512-4B5C-8C62-1C6EC17B587B}" dt="2021-10-05T13:09:13.838" v="206" actId="729"/>
      <pc:docMkLst>
        <pc:docMk/>
      </pc:docMkLst>
      <pc:sldChg chg="addSp modSp add mod ord modShow">
        <pc:chgData name="Meyer Raphael (PAR-ES)" userId="79615dfe-ed48-4e74-a40f-4f7b034c1c27" providerId="ADAL" clId="{B0E92903-F512-4B5C-8C62-1C6EC17B587B}" dt="2021-10-05T13:09:09.029" v="205" actId="729"/>
        <pc:sldMkLst>
          <pc:docMk/>
          <pc:sldMk cId="4111543747" sldId="368"/>
        </pc:sldMkLst>
        <pc:spChg chg="add mod">
          <ac:chgData name="Meyer Raphael (PAR-ES)" userId="79615dfe-ed48-4e74-a40f-4f7b034c1c27" providerId="ADAL" clId="{B0E92903-F512-4B5C-8C62-1C6EC17B587B}" dt="2021-10-05T13:08:52.268" v="203" actId="1076"/>
          <ac:spMkLst>
            <pc:docMk/>
            <pc:sldMk cId="4111543747" sldId="368"/>
            <ac:spMk id="4" creationId="{36A53D69-F0A7-48F1-A475-7ED108947EAA}"/>
          </ac:spMkLst>
        </pc:spChg>
        <pc:spChg chg="mod">
          <ac:chgData name="Meyer Raphael (PAR-ES)" userId="79615dfe-ed48-4e74-a40f-4f7b034c1c27" providerId="ADAL" clId="{B0E92903-F512-4B5C-8C62-1C6EC17B587B}" dt="2021-10-05T13:01:49.774" v="60" actId="1076"/>
          <ac:spMkLst>
            <pc:docMk/>
            <pc:sldMk cId="4111543747" sldId="368"/>
            <ac:spMk id="6" creationId="{0EEE4EA3-E16E-424B-97F9-53A8F5D585AE}"/>
          </ac:spMkLst>
        </pc:spChg>
        <pc:graphicFrameChg chg="mod">
          <ac:chgData name="Meyer Raphael (PAR-ES)" userId="79615dfe-ed48-4e74-a40f-4f7b034c1c27" providerId="ADAL" clId="{B0E92903-F512-4B5C-8C62-1C6EC17B587B}" dt="2021-10-05T13:08:39.891" v="202"/>
          <ac:graphicFrameMkLst>
            <pc:docMk/>
            <pc:sldMk cId="4111543747" sldId="368"/>
            <ac:graphicFrameMk id="5" creationId="{4CF6AB8B-CAB9-4C7E-8E59-E00357A4D7F0}"/>
          </ac:graphicFrameMkLst>
        </pc:graphicFrameChg>
      </pc:sldChg>
      <pc:sldChg chg="addSp delSp modSp add mod modShow">
        <pc:chgData name="Meyer Raphael (PAR-ES)" userId="79615dfe-ed48-4e74-a40f-4f7b034c1c27" providerId="ADAL" clId="{B0E92903-F512-4B5C-8C62-1C6EC17B587B}" dt="2021-10-05T13:09:13.838" v="206" actId="729"/>
        <pc:sldMkLst>
          <pc:docMk/>
          <pc:sldMk cId="2479672112" sldId="369"/>
        </pc:sldMkLst>
        <pc:spChg chg="mod">
          <ac:chgData name="Meyer Raphael (PAR-ES)" userId="79615dfe-ed48-4e74-a40f-4f7b034c1c27" providerId="ADAL" clId="{B0E92903-F512-4B5C-8C62-1C6EC17B587B}" dt="2021-10-05T13:06:12.239" v="188" actId="1035"/>
          <ac:spMkLst>
            <pc:docMk/>
            <pc:sldMk cId="2479672112" sldId="369"/>
            <ac:spMk id="12" creationId="{970D2C07-63A2-4265-B006-56F685FE80A5}"/>
          </ac:spMkLst>
        </pc:spChg>
        <pc:spChg chg="mod">
          <ac:chgData name="Meyer Raphael (PAR-ES)" userId="79615dfe-ed48-4e74-a40f-4f7b034c1c27" providerId="ADAL" clId="{B0E92903-F512-4B5C-8C62-1C6EC17B587B}" dt="2021-10-05T13:06:12.239" v="188" actId="1035"/>
          <ac:spMkLst>
            <pc:docMk/>
            <pc:sldMk cId="2479672112" sldId="369"/>
            <ac:spMk id="13" creationId="{93412675-62AA-41D8-997C-4E877ED953A8}"/>
          </ac:spMkLst>
        </pc:spChg>
        <pc:spChg chg="add mod">
          <ac:chgData name="Meyer Raphael (PAR-ES)" userId="79615dfe-ed48-4e74-a40f-4f7b034c1c27" providerId="ADAL" clId="{B0E92903-F512-4B5C-8C62-1C6EC17B587B}" dt="2021-10-05T13:08:57.325" v="204"/>
          <ac:spMkLst>
            <pc:docMk/>
            <pc:sldMk cId="2479672112" sldId="369"/>
            <ac:spMk id="15" creationId="{08D65015-F9CA-44B6-99AD-28C21DDCAEF8}"/>
          </ac:spMkLst>
        </pc:spChg>
        <pc:graphicFrameChg chg="mod">
          <ac:chgData name="Meyer Raphael (PAR-ES)" userId="79615dfe-ed48-4e74-a40f-4f7b034c1c27" providerId="ADAL" clId="{B0E92903-F512-4B5C-8C62-1C6EC17B587B}" dt="2021-10-05T13:05:51.452" v="150" actId="1036"/>
          <ac:graphicFrameMkLst>
            <pc:docMk/>
            <pc:sldMk cId="2479672112" sldId="369"/>
            <ac:graphicFrameMk id="5" creationId="{4CF6AB8B-CAB9-4C7E-8E59-E00357A4D7F0}"/>
          </ac:graphicFrameMkLst>
        </pc:graphicFrameChg>
        <pc:graphicFrameChg chg="del">
          <ac:chgData name="Meyer Raphael (PAR-ES)" userId="79615dfe-ed48-4e74-a40f-4f7b034c1c27" providerId="ADAL" clId="{B0E92903-F512-4B5C-8C62-1C6EC17B587B}" dt="2021-10-05T13:05:43.422" v="109" actId="21"/>
          <ac:graphicFrameMkLst>
            <pc:docMk/>
            <pc:sldMk cId="2479672112" sldId="369"/>
            <ac:graphicFrameMk id="9" creationId="{E1369C63-C4A7-403B-A03F-B004599F910A}"/>
          </ac:graphicFrameMkLst>
        </pc:graphicFrameChg>
        <pc:graphicFrameChg chg="add mod">
          <ac:chgData name="Meyer Raphael (PAR-ES)" userId="79615dfe-ed48-4e74-a40f-4f7b034c1c27" providerId="ADAL" clId="{B0E92903-F512-4B5C-8C62-1C6EC17B587B}" dt="2021-10-05T13:07:28.054" v="191" actId="693"/>
          <ac:graphicFrameMkLst>
            <pc:docMk/>
            <pc:sldMk cId="2479672112" sldId="369"/>
            <ac:graphicFrameMk id="14" creationId="{448E30CC-0B60-4748-AEB6-C3648EB8AB40}"/>
          </ac:graphicFrameMkLst>
        </pc:graphicFrameChg>
        <pc:cxnChg chg="mod">
          <ac:chgData name="Meyer Raphael (PAR-ES)" userId="79615dfe-ed48-4e74-a40f-4f7b034c1c27" providerId="ADAL" clId="{B0E92903-F512-4B5C-8C62-1C6EC17B587B}" dt="2021-10-05T13:06:23.456" v="189" actId="14100"/>
          <ac:cxnSpMkLst>
            <pc:docMk/>
            <pc:sldMk cId="2479672112" sldId="369"/>
            <ac:cxnSpMk id="8" creationId="{6F3EB9D3-E612-42D9-859B-1905BD876C26}"/>
          </ac:cxnSpMkLst>
        </pc:cxnChg>
      </pc:sldChg>
    </pc:docChg>
  </pc:docChgLst>
  <pc:docChgLst>
    <pc:chgData name="Meyer Raphael (PAR-ES)" userId="79615dfe-ed48-4e74-a40f-4f7b034c1c27" providerId="ADAL" clId="{5528737C-C315-4961-BADA-2AFD94279709}"/>
    <pc:docChg chg="custSel addSld delSld modSld sldOrd">
      <pc:chgData name="Meyer Raphael (PAR-ES)" userId="79615dfe-ed48-4e74-a40f-4f7b034c1c27" providerId="ADAL" clId="{5528737C-C315-4961-BADA-2AFD94279709}" dt="2021-02-04T09:20:18.670" v="64" actId="2696"/>
      <pc:docMkLst>
        <pc:docMk/>
      </pc:docMkLst>
      <pc:sldChg chg="modSp mod">
        <pc:chgData name="Meyer Raphael (PAR-ES)" userId="79615dfe-ed48-4e74-a40f-4f7b034c1c27" providerId="ADAL" clId="{5528737C-C315-4961-BADA-2AFD94279709}" dt="2021-02-04T09:16:40.032" v="47" actId="20577"/>
        <pc:sldMkLst>
          <pc:docMk/>
          <pc:sldMk cId="1667945532" sldId="306"/>
        </pc:sldMkLst>
        <pc:spChg chg="mod">
          <ac:chgData name="Meyer Raphael (PAR-ES)" userId="79615dfe-ed48-4e74-a40f-4f7b034c1c27" providerId="ADAL" clId="{5528737C-C315-4961-BADA-2AFD94279709}" dt="2021-02-04T09:14:18.918" v="25" actId="20577"/>
          <ac:spMkLst>
            <pc:docMk/>
            <pc:sldMk cId="1667945532" sldId="306"/>
            <ac:spMk id="8" creationId="{5857C2A1-2CB8-4D4A-AEFD-E809BF73D04F}"/>
          </ac:spMkLst>
        </pc:spChg>
        <pc:spChg chg="mod">
          <ac:chgData name="Meyer Raphael (PAR-ES)" userId="79615dfe-ed48-4e74-a40f-4f7b034c1c27" providerId="ADAL" clId="{5528737C-C315-4961-BADA-2AFD94279709}" dt="2021-02-04T09:14:09.807" v="23" actId="20577"/>
          <ac:spMkLst>
            <pc:docMk/>
            <pc:sldMk cId="1667945532" sldId="306"/>
            <ac:spMk id="27" creationId="{46A6B042-39EE-4A58-BBAA-13D52264B660}"/>
          </ac:spMkLst>
        </pc:spChg>
        <pc:spChg chg="mod">
          <ac:chgData name="Meyer Raphael (PAR-ES)" userId="79615dfe-ed48-4e74-a40f-4f7b034c1c27" providerId="ADAL" clId="{5528737C-C315-4961-BADA-2AFD94279709}" dt="2021-02-04T09:16:40.032" v="47" actId="20577"/>
          <ac:spMkLst>
            <pc:docMk/>
            <pc:sldMk cId="1667945532" sldId="306"/>
            <ac:spMk id="31" creationId="{7491A47D-CAD4-478D-8F3A-296FFCB799F9}"/>
          </ac:spMkLst>
        </pc:spChg>
      </pc:sldChg>
      <pc:sldChg chg="del">
        <pc:chgData name="Meyer Raphael (PAR-ES)" userId="79615dfe-ed48-4e74-a40f-4f7b034c1c27" providerId="ADAL" clId="{5528737C-C315-4961-BADA-2AFD94279709}" dt="2021-02-04T09:18:44.866" v="57" actId="2696"/>
        <pc:sldMkLst>
          <pc:docMk/>
          <pc:sldMk cId="3848357479" sldId="323"/>
        </pc:sldMkLst>
      </pc:sldChg>
      <pc:sldChg chg="del">
        <pc:chgData name="Meyer Raphael (PAR-ES)" userId="79615dfe-ed48-4e74-a40f-4f7b034c1c27" providerId="ADAL" clId="{5528737C-C315-4961-BADA-2AFD94279709}" dt="2021-02-04T09:20:18.670" v="64" actId="2696"/>
        <pc:sldMkLst>
          <pc:docMk/>
          <pc:sldMk cId="2334667298" sldId="324"/>
        </pc:sldMkLst>
      </pc:sldChg>
      <pc:sldChg chg="addSp delSp modSp add ord">
        <pc:chgData name="Meyer Raphael (PAR-ES)" userId="79615dfe-ed48-4e74-a40f-4f7b034c1c27" providerId="ADAL" clId="{5528737C-C315-4961-BADA-2AFD94279709}" dt="2021-02-04T09:18:15.544" v="56"/>
        <pc:sldMkLst>
          <pc:docMk/>
          <pc:sldMk cId="3641903134" sldId="326"/>
        </pc:sldMkLst>
        <pc:spChg chg="mod">
          <ac:chgData name="Meyer Raphael (PAR-ES)" userId="79615dfe-ed48-4e74-a40f-4f7b034c1c27" providerId="ADAL" clId="{5528737C-C315-4961-BADA-2AFD94279709}" dt="2021-02-04T09:17:54.175" v="54"/>
          <ac:spMkLst>
            <pc:docMk/>
            <pc:sldMk cId="3641903134" sldId="326"/>
            <ac:spMk id="2" creationId="{A2DC317F-F1F4-4624-8FC1-3B68C1DBB3DA}"/>
          </ac:spMkLst>
        </pc:spChg>
        <pc:spChg chg="del">
          <ac:chgData name="Meyer Raphael (PAR-ES)" userId="79615dfe-ed48-4e74-a40f-4f7b034c1c27" providerId="ADAL" clId="{5528737C-C315-4961-BADA-2AFD94279709}" dt="2021-02-04T09:17:28.969" v="52" actId="478"/>
          <ac:spMkLst>
            <pc:docMk/>
            <pc:sldMk cId="3641903134" sldId="326"/>
            <ac:spMk id="7" creationId="{BA3F9A72-0541-4D1F-8CD8-1C2B8074FA1B}"/>
          </ac:spMkLst>
        </pc:spChg>
        <pc:spChg chg="del">
          <ac:chgData name="Meyer Raphael (PAR-ES)" userId="79615dfe-ed48-4e74-a40f-4f7b034c1c27" providerId="ADAL" clId="{5528737C-C315-4961-BADA-2AFD94279709}" dt="2021-02-04T09:17:28.969" v="52" actId="478"/>
          <ac:spMkLst>
            <pc:docMk/>
            <pc:sldMk cId="3641903134" sldId="326"/>
            <ac:spMk id="8" creationId="{5857C2A1-2CB8-4D4A-AEFD-E809BF73D04F}"/>
          </ac:spMkLst>
        </pc:spChg>
        <pc:spChg chg="del">
          <ac:chgData name="Meyer Raphael (PAR-ES)" userId="79615dfe-ed48-4e74-a40f-4f7b034c1c27" providerId="ADAL" clId="{5528737C-C315-4961-BADA-2AFD94279709}" dt="2021-02-04T09:17:28.969" v="52" actId="478"/>
          <ac:spMkLst>
            <pc:docMk/>
            <pc:sldMk cId="3641903134" sldId="326"/>
            <ac:spMk id="9" creationId="{B6990B61-32B2-4ADC-BF01-EDF7B4080F97}"/>
          </ac:spMkLst>
        </pc:spChg>
        <pc:spChg chg="mod">
          <ac:chgData name="Meyer Raphael (PAR-ES)" userId="79615dfe-ed48-4e74-a40f-4f7b034c1c27" providerId="ADAL" clId="{5528737C-C315-4961-BADA-2AFD94279709}" dt="2021-02-04T09:18:04.885" v="55"/>
          <ac:spMkLst>
            <pc:docMk/>
            <pc:sldMk cId="3641903134" sldId="326"/>
            <ac:spMk id="10" creationId="{077DFD58-E5EE-4B68-9325-D935DB04DD40}"/>
          </ac:spMkLst>
        </pc:spChg>
        <pc:spChg chg="del">
          <ac:chgData name="Meyer Raphael (PAR-ES)" userId="79615dfe-ed48-4e74-a40f-4f7b034c1c27" providerId="ADAL" clId="{5528737C-C315-4961-BADA-2AFD94279709}" dt="2021-02-04T09:17:28.969" v="52" actId="478"/>
          <ac:spMkLst>
            <pc:docMk/>
            <pc:sldMk cId="3641903134" sldId="326"/>
            <ac:spMk id="17" creationId="{785E740C-F94A-4208-8DFD-63A603C16577}"/>
          </ac:spMkLst>
        </pc:spChg>
        <pc:spChg chg="del">
          <ac:chgData name="Meyer Raphael (PAR-ES)" userId="79615dfe-ed48-4e74-a40f-4f7b034c1c27" providerId="ADAL" clId="{5528737C-C315-4961-BADA-2AFD94279709}" dt="2021-02-04T09:17:28.969" v="52" actId="478"/>
          <ac:spMkLst>
            <pc:docMk/>
            <pc:sldMk cId="3641903134" sldId="326"/>
            <ac:spMk id="26" creationId="{BFD498B5-D73E-4C8A-9FAF-B3547647538C}"/>
          </ac:spMkLst>
        </pc:spChg>
        <pc:spChg chg="mod">
          <ac:chgData name="Meyer Raphael (PAR-ES)" userId="79615dfe-ed48-4e74-a40f-4f7b034c1c27" providerId="ADAL" clId="{5528737C-C315-4961-BADA-2AFD94279709}" dt="2021-02-04T09:18:15.544" v="56"/>
          <ac:spMkLst>
            <pc:docMk/>
            <pc:sldMk cId="3641903134" sldId="326"/>
            <ac:spMk id="27" creationId="{46A6B042-39EE-4A58-BBAA-13D52264B660}"/>
          </ac:spMkLst>
        </pc:spChg>
        <pc:spChg chg="add">
          <ac:chgData name="Meyer Raphael (PAR-ES)" userId="79615dfe-ed48-4e74-a40f-4f7b034c1c27" providerId="ADAL" clId="{5528737C-C315-4961-BADA-2AFD94279709}" dt="2021-02-04T09:17:43.512" v="53"/>
          <ac:spMkLst>
            <pc:docMk/>
            <pc:sldMk cId="3641903134" sldId="326"/>
            <ac:spMk id="36" creationId="{B69A5B07-E96F-416B-92F4-DAFF83FC00B2}"/>
          </ac:spMkLst>
        </pc:spChg>
        <pc:spChg chg="add">
          <ac:chgData name="Meyer Raphael (PAR-ES)" userId="79615dfe-ed48-4e74-a40f-4f7b034c1c27" providerId="ADAL" clId="{5528737C-C315-4961-BADA-2AFD94279709}" dt="2021-02-04T09:17:43.512" v="53"/>
          <ac:spMkLst>
            <pc:docMk/>
            <pc:sldMk cId="3641903134" sldId="326"/>
            <ac:spMk id="38" creationId="{35AF69BD-D9E3-48BC-8B9F-970669FD37B5}"/>
          </ac:spMkLst>
        </pc:spChg>
        <pc:spChg chg="add">
          <ac:chgData name="Meyer Raphael (PAR-ES)" userId="79615dfe-ed48-4e74-a40f-4f7b034c1c27" providerId="ADAL" clId="{5528737C-C315-4961-BADA-2AFD94279709}" dt="2021-02-04T09:17:43.512" v="53"/>
          <ac:spMkLst>
            <pc:docMk/>
            <pc:sldMk cId="3641903134" sldId="326"/>
            <ac:spMk id="39" creationId="{6CA1E68D-9C90-45A5-BC20-B3318C6C8E13}"/>
          </ac:spMkLst>
        </pc:spChg>
        <pc:spChg chg="add">
          <ac:chgData name="Meyer Raphael (PAR-ES)" userId="79615dfe-ed48-4e74-a40f-4f7b034c1c27" providerId="ADAL" clId="{5528737C-C315-4961-BADA-2AFD94279709}" dt="2021-02-04T09:17:43.512" v="53"/>
          <ac:spMkLst>
            <pc:docMk/>
            <pc:sldMk cId="3641903134" sldId="326"/>
            <ac:spMk id="40" creationId="{D85C4715-7B41-4B86-B025-1D7EEB9511B9}"/>
          </ac:spMkLst>
        </pc:spChg>
        <pc:spChg chg="add">
          <ac:chgData name="Meyer Raphael (PAR-ES)" userId="79615dfe-ed48-4e74-a40f-4f7b034c1c27" providerId="ADAL" clId="{5528737C-C315-4961-BADA-2AFD94279709}" dt="2021-02-04T09:17:43.512" v="53"/>
          <ac:spMkLst>
            <pc:docMk/>
            <pc:sldMk cId="3641903134" sldId="326"/>
            <ac:spMk id="41" creationId="{A4718125-B677-437A-8CA6-03417515568C}"/>
          </ac:spMkLst>
        </pc:spChg>
      </pc:sldChg>
      <pc:sldChg chg="addSp delSp modSp add ord">
        <pc:chgData name="Meyer Raphael (PAR-ES)" userId="79615dfe-ed48-4e74-a40f-4f7b034c1c27" providerId="ADAL" clId="{5528737C-C315-4961-BADA-2AFD94279709}" dt="2021-02-04T09:20:06.672" v="63" actId="14100"/>
        <pc:sldMkLst>
          <pc:docMk/>
          <pc:sldMk cId="3348111305" sldId="327"/>
        </pc:sldMkLst>
        <pc:spChg chg="mod">
          <ac:chgData name="Meyer Raphael (PAR-ES)" userId="79615dfe-ed48-4e74-a40f-4f7b034c1c27" providerId="ADAL" clId="{5528737C-C315-4961-BADA-2AFD94279709}" dt="2021-02-04T09:19:33.942" v="60"/>
          <ac:spMkLst>
            <pc:docMk/>
            <pc:sldMk cId="3348111305" sldId="327"/>
            <ac:spMk id="2" creationId="{A2DC317F-F1F4-4624-8FC1-3B68C1DBB3DA}"/>
          </ac:spMkLst>
        </pc:spChg>
        <pc:spChg chg="del">
          <ac:chgData name="Meyer Raphael (PAR-ES)" userId="79615dfe-ed48-4e74-a40f-4f7b034c1c27" providerId="ADAL" clId="{5528737C-C315-4961-BADA-2AFD94279709}" dt="2021-02-04T09:19:09.405" v="58" actId="478"/>
          <ac:spMkLst>
            <pc:docMk/>
            <pc:sldMk cId="3348111305" sldId="327"/>
            <ac:spMk id="7" creationId="{BA3F9A72-0541-4D1F-8CD8-1C2B8074FA1B}"/>
          </ac:spMkLst>
        </pc:spChg>
        <pc:spChg chg="del">
          <ac:chgData name="Meyer Raphael (PAR-ES)" userId="79615dfe-ed48-4e74-a40f-4f7b034c1c27" providerId="ADAL" clId="{5528737C-C315-4961-BADA-2AFD94279709}" dt="2021-02-04T09:19:09.405" v="58" actId="478"/>
          <ac:spMkLst>
            <pc:docMk/>
            <pc:sldMk cId="3348111305" sldId="327"/>
            <ac:spMk id="8" creationId="{5857C2A1-2CB8-4D4A-AEFD-E809BF73D04F}"/>
          </ac:spMkLst>
        </pc:spChg>
        <pc:spChg chg="del">
          <ac:chgData name="Meyer Raphael (PAR-ES)" userId="79615dfe-ed48-4e74-a40f-4f7b034c1c27" providerId="ADAL" clId="{5528737C-C315-4961-BADA-2AFD94279709}" dt="2021-02-04T09:19:09.405" v="58" actId="478"/>
          <ac:spMkLst>
            <pc:docMk/>
            <pc:sldMk cId="3348111305" sldId="327"/>
            <ac:spMk id="9" creationId="{B6990B61-32B2-4ADC-BF01-EDF7B4080F97}"/>
          </ac:spMkLst>
        </pc:spChg>
        <pc:spChg chg="mod">
          <ac:chgData name="Meyer Raphael (PAR-ES)" userId="79615dfe-ed48-4e74-a40f-4f7b034c1c27" providerId="ADAL" clId="{5528737C-C315-4961-BADA-2AFD94279709}" dt="2021-02-04T09:19:47.250" v="61"/>
          <ac:spMkLst>
            <pc:docMk/>
            <pc:sldMk cId="3348111305" sldId="327"/>
            <ac:spMk id="10" creationId="{077DFD58-E5EE-4B68-9325-D935DB04DD40}"/>
          </ac:spMkLst>
        </pc:spChg>
        <pc:spChg chg="del">
          <ac:chgData name="Meyer Raphael (PAR-ES)" userId="79615dfe-ed48-4e74-a40f-4f7b034c1c27" providerId="ADAL" clId="{5528737C-C315-4961-BADA-2AFD94279709}" dt="2021-02-04T09:19:09.405" v="58" actId="478"/>
          <ac:spMkLst>
            <pc:docMk/>
            <pc:sldMk cId="3348111305" sldId="327"/>
            <ac:spMk id="17" creationId="{785E740C-F94A-4208-8DFD-63A603C16577}"/>
          </ac:spMkLst>
        </pc:spChg>
        <pc:spChg chg="del">
          <ac:chgData name="Meyer Raphael (PAR-ES)" userId="79615dfe-ed48-4e74-a40f-4f7b034c1c27" providerId="ADAL" clId="{5528737C-C315-4961-BADA-2AFD94279709}" dt="2021-02-04T09:19:09.405" v="58" actId="478"/>
          <ac:spMkLst>
            <pc:docMk/>
            <pc:sldMk cId="3348111305" sldId="327"/>
            <ac:spMk id="26" creationId="{BFD498B5-D73E-4C8A-9FAF-B3547647538C}"/>
          </ac:spMkLst>
        </pc:spChg>
        <pc:spChg chg="mod">
          <ac:chgData name="Meyer Raphael (PAR-ES)" userId="79615dfe-ed48-4e74-a40f-4f7b034c1c27" providerId="ADAL" clId="{5528737C-C315-4961-BADA-2AFD94279709}" dt="2021-02-04T09:20:06.672" v="63" actId="14100"/>
          <ac:spMkLst>
            <pc:docMk/>
            <pc:sldMk cId="3348111305" sldId="327"/>
            <ac:spMk id="27" creationId="{46A6B042-39EE-4A58-BBAA-13D52264B660}"/>
          </ac:spMkLst>
        </pc:spChg>
        <pc:spChg chg="add">
          <ac:chgData name="Meyer Raphael (PAR-ES)" userId="79615dfe-ed48-4e74-a40f-4f7b034c1c27" providerId="ADAL" clId="{5528737C-C315-4961-BADA-2AFD94279709}" dt="2021-02-04T09:19:23.408" v="59"/>
          <ac:spMkLst>
            <pc:docMk/>
            <pc:sldMk cId="3348111305" sldId="327"/>
            <ac:spMk id="36" creationId="{69A2CC5D-E7DE-44F5-BFB7-8431BD6704F8}"/>
          </ac:spMkLst>
        </pc:spChg>
        <pc:spChg chg="add">
          <ac:chgData name="Meyer Raphael (PAR-ES)" userId="79615dfe-ed48-4e74-a40f-4f7b034c1c27" providerId="ADAL" clId="{5528737C-C315-4961-BADA-2AFD94279709}" dt="2021-02-04T09:19:23.408" v="59"/>
          <ac:spMkLst>
            <pc:docMk/>
            <pc:sldMk cId="3348111305" sldId="327"/>
            <ac:spMk id="38" creationId="{4E217782-0B12-41FA-A97D-B152FA119DB5}"/>
          </ac:spMkLst>
        </pc:spChg>
        <pc:spChg chg="add">
          <ac:chgData name="Meyer Raphael (PAR-ES)" userId="79615dfe-ed48-4e74-a40f-4f7b034c1c27" providerId="ADAL" clId="{5528737C-C315-4961-BADA-2AFD94279709}" dt="2021-02-04T09:19:23.408" v="59"/>
          <ac:spMkLst>
            <pc:docMk/>
            <pc:sldMk cId="3348111305" sldId="327"/>
            <ac:spMk id="39" creationId="{B8235BC5-BE3E-46AF-A605-AFC9661751D1}"/>
          </ac:spMkLst>
        </pc:spChg>
        <pc:spChg chg="add">
          <ac:chgData name="Meyer Raphael (PAR-ES)" userId="79615dfe-ed48-4e74-a40f-4f7b034c1c27" providerId="ADAL" clId="{5528737C-C315-4961-BADA-2AFD94279709}" dt="2021-02-04T09:19:23.408" v="59"/>
          <ac:spMkLst>
            <pc:docMk/>
            <pc:sldMk cId="3348111305" sldId="327"/>
            <ac:spMk id="40" creationId="{926928CE-8B57-47B4-904C-6FF3C22107AF}"/>
          </ac:spMkLst>
        </pc:spChg>
        <pc:spChg chg="add">
          <ac:chgData name="Meyer Raphael (PAR-ES)" userId="79615dfe-ed48-4e74-a40f-4f7b034c1c27" providerId="ADAL" clId="{5528737C-C315-4961-BADA-2AFD94279709}" dt="2021-02-04T09:19:23.408" v="59"/>
          <ac:spMkLst>
            <pc:docMk/>
            <pc:sldMk cId="3348111305" sldId="327"/>
            <ac:spMk id="41" creationId="{3CE54247-5290-47C5-A732-A82FB2D50E0A}"/>
          </ac:spMkLst>
        </pc:spChg>
      </pc:sldChg>
    </pc:docChg>
  </pc:docChgLst>
  <pc:docChgLst>
    <pc:chgData name="Meyer Raphael (PAR-ES)" userId="79615dfe-ed48-4e74-a40f-4f7b034c1c27" providerId="ADAL" clId="{EF1FC0F8-B9C4-4F2D-A33F-C755998C42B1}"/>
    <pc:docChg chg="modSld">
      <pc:chgData name="Meyer Raphael (PAR-ES)" userId="79615dfe-ed48-4e74-a40f-4f7b034c1c27" providerId="ADAL" clId="{EF1FC0F8-B9C4-4F2D-A33F-C755998C42B1}" dt="2021-07-09T09:26:33.786" v="93" actId="1038"/>
      <pc:docMkLst>
        <pc:docMk/>
      </pc:docMkLst>
      <pc:sldChg chg="modSp mod">
        <pc:chgData name="Meyer Raphael (PAR-ES)" userId="79615dfe-ed48-4e74-a40f-4f7b034c1c27" providerId="ADAL" clId="{EF1FC0F8-B9C4-4F2D-A33F-C755998C42B1}" dt="2021-07-09T09:22:24.942" v="50" actId="27918"/>
        <pc:sldMkLst>
          <pc:docMk/>
          <pc:sldMk cId="1495152177" sldId="298"/>
        </pc:sldMkLst>
        <pc:spChg chg="mod">
          <ac:chgData name="Meyer Raphael (PAR-ES)" userId="79615dfe-ed48-4e74-a40f-4f7b034c1c27" providerId="ADAL" clId="{EF1FC0F8-B9C4-4F2D-A33F-C755998C42B1}" dt="2021-07-09T09:22:11.032" v="48" actId="1037"/>
          <ac:spMkLst>
            <pc:docMk/>
            <pc:sldMk cId="1495152177" sldId="298"/>
            <ac:spMk id="12" creationId="{970D2C07-63A2-4265-B006-56F685FE80A5}"/>
          </ac:spMkLst>
        </pc:spChg>
        <pc:spChg chg="mod">
          <ac:chgData name="Meyer Raphael (PAR-ES)" userId="79615dfe-ed48-4e74-a40f-4f7b034c1c27" providerId="ADAL" clId="{EF1FC0F8-B9C4-4F2D-A33F-C755998C42B1}" dt="2021-07-09T09:22:11.032" v="48" actId="1037"/>
          <ac:spMkLst>
            <pc:docMk/>
            <pc:sldMk cId="1495152177" sldId="298"/>
            <ac:spMk id="13" creationId="{93412675-62AA-41D8-997C-4E877ED953A8}"/>
          </ac:spMkLst>
        </pc:spChg>
        <pc:graphicFrameChg chg="modGraphic">
          <ac:chgData name="Meyer Raphael (PAR-ES)" userId="79615dfe-ed48-4e74-a40f-4f7b034c1c27" providerId="ADAL" clId="{EF1FC0F8-B9C4-4F2D-A33F-C755998C42B1}" dt="2021-07-09T09:16:49.409" v="11"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EF1FC0F8-B9C4-4F2D-A33F-C755998C42B1}" dt="2021-07-09T09:22:11.032" v="48" actId="1037"/>
          <ac:cxnSpMkLst>
            <pc:docMk/>
            <pc:sldMk cId="1495152177" sldId="298"/>
            <ac:cxnSpMk id="8" creationId="{6F3EB9D3-E612-42D9-859B-1905BD876C26}"/>
          </ac:cxnSpMkLst>
        </pc:cxnChg>
      </pc:sldChg>
      <pc:sldChg chg="modSp mod">
        <pc:chgData name="Meyer Raphael (PAR-ES)" userId="79615dfe-ed48-4e74-a40f-4f7b034c1c27" providerId="ADAL" clId="{EF1FC0F8-B9C4-4F2D-A33F-C755998C42B1}" dt="2021-07-09T09:24:31.830" v="72" actId="1038"/>
        <pc:sldMkLst>
          <pc:docMk/>
          <pc:sldMk cId="3590012689" sldId="365"/>
        </pc:sldMkLst>
        <pc:spChg chg="mod">
          <ac:chgData name="Meyer Raphael (PAR-ES)" userId="79615dfe-ed48-4e74-a40f-4f7b034c1c27" providerId="ADAL" clId="{EF1FC0F8-B9C4-4F2D-A33F-C755998C42B1}" dt="2021-07-09T09:24:31.830" v="72" actId="1038"/>
          <ac:spMkLst>
            <pc:docMk/>
            <pc:sldMk cId="3590012689" sldId="365"/>
            <ac:spMk id="12" creationId="{970D2C07-63A2-4265-B006-56F685FE80A5}"/>
          </ac:spMkLst>
        </pc:spChg>
        <pc:spChg chg="mod">
          <ac:chgData name="Meyer Raphael (PAR-ES)" userId="79615dfe-ed48-4e74-a40f-4f7b034c1c27" providerId="ADAL" clId="{EF1FC0F8-B9C4-4F2D-A33F-C755998C42B1}" dt="2021-07-09T09:24:31.830" v="72" actId="1038"/>
          <ac:spMkLst>
            <pc:docMk/>
            <pc:sldMk cId="3590012689" sldId="365"/>
            <ac:spMk id="13" creationId="{93412675-62AA-41D8-997C-4E877ED953A8}"/>
          </ac:spMkLst>
        </pc:spChg>
        <pc:graphicFrameChg chg="mod modGraphic">
          <ac:chgData name="Meyer Raphael (PAR-ES)" userId="79615dfe-ed48-4e74-a40f-4f7b034c1c27" providerId="ADAL" clId="{EF1FC0F8-B9C4-4F2D-A33F-C755998C42B1}" dt="2021-07-09T09:17:17.209" v="16"/>
          <ac:graphicFrameMkLst>
            <pc:docMk/>
            <pc:sldMk cId="3590012689" sldId="365"/>
            <ac:graphicFrameMk id="9" creationId="{E1369C63-C4A7-403B-A03F-B004599F910A}"/>
          </ac:graphicFrameMkLst>
        </pc:graphicFrameChg>
        <pc:cxnChg chg="mod">
          <ac:chgData name="Meyer Raphael (PAR-ES)" userId="79615dfe-ed48-4e74-a40f-4f7b034c1c27" providerId="ADAL" clId="{EF1FC0F8-B9C4-4F2D-A33F-C755998C42B1}" dt="2021-07-09T09:24:31.830" v="72" actId="1038"/>
          <ac:cxnSpMkLst>
            <pc:docMk/>
            <pc:sldMk cId="3590012689" sldId="365"/>
            <ac:cxnSpMk id="8" creationId="{6F3EB9D3-E612-42D9-859B-1905BD876C26}"/>
          </ac:cxnSpMkLst>
        </pc:cxnChg>
      </pc:sldChg>
      <pc:sldChg chg="modSp mod">
        <pc:chgData name="Meyer Raphael (PAR-ES)" userId="79615dfe-ed48-4e74-a40f-4f7b034c1c27" providerId="ADAL" clId="{EF1FC0F8-B9C4-4F2D-A33F-C755998C42B1}" dt="2021-07-09T09:26:33.786" v="93" actId="1038"/>
        <pc:sldMkLst>
          <pc:docMk/>
          <pc:sldMk cId="689864941" sldId="366"/>
        </pc:sldMkLst>
        <pc:spChg chg="mod">
          <ac:chgData name="Meyer Raphael (PAR-ES)" userId="79615dfe-ed48-4e74-a40f-4f7b034c1c27" providerId="ADAL" clId="{EF1FC0F8-B9C4-4F2D-A33F-C755998C42B1}" dt="2021-07-09T09:26:33.786" v="93" actId="1038"/>
          <ac:spMkLst>
            <pc:docMk/>
            <pc:sldMk cId="689864941" sldId="366"/>
            <ac:spMk id="12" creationId="{970D2C07-63A2-4265-B006-56F685FE80A5}"/>
          </ac:spMkLst>
        </pc:spChg>
        <pc:spChg chg="mod">
          <ac:chgData name="Meyer Raphael (PAR-ES)" userId="79615dfe-ed48-4e74-a40f-4f7b034c1c27" providerId="ADAL" clId="{EF1FC0F8-B9C4-4F2D-A33F-C755998C42B1}" dt="2021-07-09T09:26:33.786" v="93" actId="1038"/>
          <ac:spMkLst>
            <pc:docMk/>
            <pc:sldMk cId="689864941" sldId="366"/>
            <ac:spMk id="13" creationId="{93412675-62AA-41D8-997C-4E877ED953A8}"/>
          </ac:spMkLst>
        </pc:spChg>
        <pc:graphicFrameChg chg="mod modGraphic">
          <ac:chgData name="Meyer Raphael (PAR-ES)" userId="79615dfe-ed48-4e74-a40f-4f7b034c1c27" providerId="ADAL" clId="{EF1FC0F8-B9C4-4F2D-A33F-C755998C42B1}" dt="2021-07-09T09:17:21.223" v="17"/>
          <ac:graphicFrameMkLst>
            <pc:docMk/>
            <pc:sldMk cId="689864941" sldId="366"/>
            <ac:graphicFrameMk id="9" creationId="{E1369C63-C4A7-403B-A03F-B004599F910A}"/>
          </ac:graphicFrameMkLst>
        </pc:graphicFrameChg>
        <pc:cxnChg chg="mod">
          <ac:chgData name="Meyer Raphael (PAR-ES)" userId="79615dfe-ed48-4e74-a40f-4f7b034c1c27" providerId="ADAL" clId="{EF1FC0F8-B9C4-4F2D-A33F-C755998C42B1}" dt="2021-07-09T09:26:33.786" v="93" actId="1038"/>
          <ac:cxnSpMkLst>
            <pc:docMk/>
            <pc:sldMk cId="689864941" sldId="366"/>
            <ac:cxnSpMk id="8" creationId="{6F3EB9D3-E612-42D9-859B-1905BD876C26}"/>
          </ac:cxnSpMkLst>
        </pc:cxnChg>
      </pc:sldChg>
    </pc:docChg>
  </pc:docChgLst>
  <pc:docChgLst>
    <pc:chgData name="Meyer Raphael (PAR-ES)" userId="79615dfe-ed48-4e74-a40f-4f7b034c1c27" providerId="ADAL" clId="{89FC39B2-103A-4EEF-895E-3C08461244ED}"/>
    <pc:docChg chg="modSld">
      <pc:chgData name="Meyer Raphael (PAR-ES)" userId="79615dfe-ed48-4e74-a40f-4f7b034c1c27" providerId="ADAL" clId="{89FC39B2-103A-4EEF-895E-3C08461244ED}" dt="2021-10-01T08:41:50.683" v="29" actId="1037"/>
      <pc:docMkLst>
        <pc:docMk/>
      </pc:docMkLst>
      <pc:sldChg chg="modSp mod">
        <pc:chgData name="Meyer Raphael (PAR-ES)" userId="79615dfe-ed48-4e74-a40f-4f7b034c1c27" providerId="ADAL" clId="{89FC39B2-103A-4EEF-895E-3C08461244ED}" dt="2021-10-01T08:41:16.302" v="10" actId="1038"/>
        <pc:sldMkLst>
          <pc:docMk/>
          <pc:sldMk cId="1495152177" sldId="298"/>
        </pc:sldMkLst>
        <pc:spChg chg="mod">
          <ac:chgData name="Meyer Raphael (PAR-ES)" userId="79615dfe-ed48-4e74-a40f-4f7b034c1c27" providerId="ADAL" clId="{89FC39B2-103A-4EEF-895E-3C08461244ED}" dt="2021-10-01T08:41:16.302" v="10" actId="1038"/>
          <ac:spMkLst>
            <pc:docMk/>
            <pc:sldMk cId="1495152177" sldId="298"/>
            <ac:spMk id="12" creationId="{970D2C07-63A2-4265-B006-56F685FE80A5}"/>
          </ac:spMkLst>
        </pc:spChg>
        <pc:spChg chg="mod">
          <ac:chgData name="Meyer Raphael (PAR-ES)" userId="79615dfe-ed48-4e74-a40f-4f7b034c1c27" providerId="ADAL" clId="{89FC39B2-103A-4EEF-895E-3C08461244ED}" dt="2021-10-01T08:41:16.302" v="10" actId="1038"/>
          <ac:spMkLst>
            <pc:docMk/>
            <pc:sldMk cId="1495152177" sldId="298"/>
            <ac:spMk id="13" creationId="{93412675-62AA-41D8-997C-4E877ED953A8}"/>
          </ac:spMkLst>
        </pc:spChg>
        <pc:cxnChg chg="mod">
          <ac:chgData name="Meyer Raphael (PAR-ES)" userId="79615dfe-ed48-4e74-a40f-4f7b034c1c27" providerId="ADAL" clId="{89FC39B2-103A-4EEF-895E-3C08461244ED}" dt="2021-10-01T08:41:16.302" v="10" actId="1038"/>
          <ac:cxnSpMkLst>
            <pc:docMk/>
            <pc:sldMk cId="1495152177" sldId="298"/>
            <ac:cxnSpMk id="8" creationId="{6F3EB9D3-E612-42D9-859B-1905BD876C26}"/>
          </ac:cxnSpMkLst>
        </pc:cxnChg>
      </pc:sldChg>
      <pc:sldChg chg="modSp mod">
        <pc:chgData name="Meyer Raphael (PAR-ES)" userId="79615dfe-ed48-4e74-a40f-4f7b034c1c27" providerId="ADAL" clId="{89FC39B2-103A-4EEF-895E-3C08461244ED}" dt="2021-10-01T08:41:35.721" v="21" actId="1037"/>
        <pc:sldMkLst>
          <pc:docMk/>
          <pc:sldMk cId="3590012689" sldId="365"/>
        </pc:sldMkLst>
        <pc:spChg chg="mod">
          <ac:chgData name="Meyer Raphael (PAR-ES)" userId="79615dfe-ed48-4e74-a40f-4f7b034c1c27" providerId="ADAL" clId="{89FC39B2-103A-4EEF-895E-3C08461244ED}" dt="2021-10-01T08:41:35.721" v="21" actId="1037"/>
          <ac:spMkLst>
            <pc:docMk/>
            <pc:sldMk cId="3590012689" sldId="365"/>
            <ac:spMk id="12" creationId="{970D2C07-63A2-4265-B006-56F685FE80A5}"/>
          </ac:spMkLst>
        </pc:spChg>
        <pc:spChg chg="mod">
          <ac:chgData name="Meyer Raphael (PAR-ES)" userId="79615dfe-ed48-4e74-a40f-4f7b034c1c27" providerId="ADAL" clId="{89FC39B2-103A-4EEF-895E-3C08461244ED}" dt="2021-10-01T08:41:35.721" v="21" actId="1037"/>
          <ac:spMkLst>
            <pc:docMk/>
            <pc:sldMk cId="3590012689" sldId="365"/>
            <ac:spMk id="13" creationId="{93412675-62AA-41D8-997C-4E877ED953A8}"/>
          </ac:spMkLst>
        </pc:spChg>
        <pc:cxnChg chg="mod">
          <ac:chgData name="Meyer Raphael (PAR-ES)" userId="79615dfe-ed48-4e74-a40f-4f7b034c1c27" providerId="ADAL" clId="{89FC39B2-103A-4EEF-895E-3C08461244ED}" dt="2021-10-01T08:41:35.721" v="21" actId="1037"/>
          <ac:cxnSpMkLst>
            <pc:docMk/>
            <pc:sldMk cId="3590012689" sldId="365"/>
            <ac:cxnSpMk id="8" creationId="{6F3EB9D3-E612-42D9-859B-1905BD876C26}"/>
          </ac:cxnSpMkLst>
        </pc:cxnChg>
      </pc:sldChg>
      <pc:sldChg chg="modSp mod">
        <pc:chgData name="Meyer Raphael (PAR-ES)" userId="79615dfe-ed48-4e74-a40f-4f7b034c1c27" providerId="ADAL" clId="{89FC39B2-103A-4EEF-895E-3C08461244ED}" dt="2021-10-01T08:41:50.683" v="29" actId="1037"/>
        <pc:sldMkLst>
          <pc:docMk/>
          <pc:sldMk cId="689864941" sldId="366"/>
        </pc:sldMkLst>
        <pc:spChg chg="mod">
          <ac:chgData name="Meyer Raphael (PAR-ES)" userId="79615dfe-ed48-4e74-a40f-4f7b034c1c27" providerId="ADAL" clId="{89FC39B2-103A-4EEF-895E-3C08461244ED}" dt="2021-10-01T08:41:50.683" v="29" actId="1037"/>
          <ac:spMkLst>
            <pc:docMk/>
            <pc:sldMk cId="689864941" sldId="366"/>
            <ac:spMk id="12" creationId="{970D2C07-63A2-4265-B006-56F685FE80A5}"/>
          </ac:spMkLst>
        </pc:spChg>
        <pc:spChg chg="mod">
          <ac:chgData name="Meyer Raphael (PAR-ES)" userId="79615dfe-ed48-4e74-a40f-4f7b034c1c27" providerId="ADAL" clId="{89FC39B2-103A-4EEF-895E-3C08461244ED}" dt="2021-10-01T08:41:50.683" v="29" actId="1037"/>
          <ac:spMkLst>
            <pc:docMk/>
            <pc:sldMk cId="689864941" sldId="366"/>
            <ac:spMk id="13" creationId="{93412675-62AA-41D8-997C-4E877ED953A8}"/>
          </ac:spMkLst>
        </pc:spChg>
        <pc:cxnChg chg="mod">
          <ac:chgData name="Meyer Raphael (PAR-ES)" userId="79615dfe-ed48-4e74-a40f-4f7b034c1c27" providerId="ADAL" clId="{89FC39B2-103A-4EEF-895E-3C08461244ED}" dt="2021-10-01T08:41:50.683" v="29" actId="1037"/>
          <ac:cxnSpMkLst>
            <pc:docMk/>
            <pc:sldMk cId="689864941" sldId="366"/>
            <ac:cxnSpMk id="8" creationId="{6F3EB9D3-E612-42D9-859B-1905BD876C26}"/>
          </ac:cxnSpMkLst>
        </pc:cxnChg>
      </pc:sldChg>
    </pc:docChg>
  </pc:docChgLst>
  <pc:docChgLst>
    <pc:chgData name="Weigel Stefan (KOM-PGA-VSF)" userId="fd3b2067-2981-4ad8-bf3a-d2e1004e4fa8" providerId="ADAL" clId="{EDEF8CE5-AEB3-4B6F-9D97-5FC90FB664AC}"/>
    <pc:docChg chg="modSld">
      <pc:chgData name="Weigel Stefan (KOM-PGA-VSF)" userId="fd3b2067-2981-4ad8-bf3a-d2e1004e4fa8" providerId="ADAL" clId="{EDEF8CE5-AEB3-4B6F-9D97-5FC90FB664AC}" dt="2020-12-23T10:57:56.671" v="137" actId="1038"/>
      <pc:docMkLst>
        <pc:docMk/>
      </pc:docMkLst>
      <pc:sldChg chg="modSp mod">
        <pc:chgData name="Weigel Stefan (KOM-PGA-VSF)" userId="fd3b2067-2981-4ad8-bf3a-d2e1004e4fa8" providerId="ADAL" clId="{EDEF8CE5-AEB3-4B6F-9D97-5FC90FB664AC}" dt="2020-12-23T10:52:55.375" v="52" actId="1038"/>
        <pc:sldMkLst>
          <pc:docMk/>
          <pc:sldMk cId="1667945532" sldId="306"/>
        </pc:sldMkLst>
        <pc:spChg chg="mod">
          <ac:chgData name="Weigel Stefan (KOM-PGA-VSF)" userId="fd3b2067-2981-4ad8-bf3a-d2e1004e4fa8" providerId="ADAL" clId="{EDEF8CE5-AEB3-4B6F-9D97-5FC90FB664AC}" dt="2020-12-23T10:47:01.964" v="12" actId="20577"/>
          <ac:spMkLst>
            <pc:docMk/>
            <pc:sldMk cId="1667945532" sldId="306"/>
            <ac:spMk id="8" creationId="{5857C2A1-2CB8-4D4A-AEFD-E809BF73D04F}"/>
          </ac:spMkLst>
        </pc:spChg>
        <pc:spChg chg="mod">
          <ac:chgData name="Weigel Stefan (KOM-PGA-VSF)" userId="fd3b2067-2981-4ad8-bf3a-d2e1004e4fa8" providerId="ADAL" clId="{EDEF8CE5-AEB3-4B6F-9D97-5FC90FB664AC}" dt="2020-12-23T10:47:39.656" v="20" actId="20577"/>
          <ac:spMkLst>
            <pc:docMk/>
            <pc:sldMk cId="1667945532" sldId="306"/>
            <ac:spMk id="27" creationId="{46A6B042-39EE-4A58-BBAA-13D52264B660}"/>
          </ac:spMkLst>
        </pc:spChg>
        <pc:spChg chg="mod">
          <ac:chgData name="Weigel Stefan (KOM-PGA-VSF)" userId="fd3b2067-2981-4ad8-bf3a-d2e1004e4fa8" providerId="ADAL" clId="{EDEF8CE5-AEB3-4B6F-9D97-5FC90FB664AC}" dt="2020-12-23T10:48:35.169" v="24" actId="1038"/>
          <ac:spMkLst>
            <pc:docMk/>
            <pc:sldMk cId="1667945532" sldId="306"/>
            <ac:spMk id="28" creationId="{4492A3CD-6943-423D-BFEC-8129889E8B6F}"/>
          </ac:spMkLst>
        </pc:spChg>
        <pc:spChg chg="mod">
          <ac:chgData name="Weigel Stefan (KOM-PGA-VSF)" userId="fd3b2067-2981-4ad8-bf3a-d2e1004e4fa8" providerId="ADAL" clId="{EDEF8CE5-AEB3-4B6F-9D97-5FC90FB664AC}" dt="2020-12-23T10:51:32.168" v="38" actId="20577"/>
          <ac:spMkLst>
            <pc:docMk/>
            <pc:sldMk cId="1667945532" sldId="306"/>
            <ac:spMk id="31" creationId="{7491A47D-CAD4-478D-8F3A-296FFCB799F9}"/>
          </ac:spMkLst>
        </pc:spChg>
        <pc:spChg chg="mod">
          <ac:chgData name="Weigel Stefan (KOM-PGA-VSF)" userId="fd3b2067-2981-4ad8-bf3a-d2e1004e4fa8" providerId="ADAL" clId="{EDEF8CE5-AEB3-4B6F-9D97-5FC90FB664AC}" dt="2020-12-23T10:46:52.113" v="10" actId="1038"/>
          <ac:spMkLst>
            <pc:docMk/>
            <pc:sldMk cId="1667945532" sldId="306"/>
            <ac:spMk id="32" creationId="{E65DDA4F-7190-4D5B-B875-6818D18C9F6E}"/>
          </ac:spMkLst>
        </pc:spChg>
        <pc:cxnChg chg="mod">
          <ac:chgData name="Weigel Stefan (KOM-PGA-VSF)" userId="fd3b2067-2981-4ad8-bf3a-d2e1004e4fa8" providerId="ADAL" clId="{EDEF8CE5-AEB3-4B6F-9D97-5FC90FB664AC}" dt="2020-12-23T10:52:55.375" v="52" actId="1038"/>
          <ac:cxnSpMkLst>
            <pc:docMk/>
            <pc:sldMk cId="1667945532" sldId="306"/>
            <ac:cxnSpMk id="20" creationId="{07FCC63F-5E2F-43DF-84ED-5FFEC92A0042}"/>
          </ac:cxnSpMkLst>
        </pc:cxnChg>
      </pc:sldChg>
      <pc:sldChg chg="modSp mod">
        <pc:chgData name="Weigel Stefan (KOM-PGA-VSF)" userId="fd3b2067-2981-4ad8-bf3a-d2e1004e4fa8" providerId="ADAL" clId="{EDEF8CE5-AEB3-4B6F-9D97-5FC90FB664AC}" dt="2020-12-23T10:55:53.829" v="92" actId="20577"/>
        <pc:sldMkLst>
          <pc:docMk/>
          <pc:sldMk cId="2802950074" sldId="315"/>
        </pc:sldMkLst>
        <pc:spChg chg="mod">
          <ac:chgData name="Weigel Stefan (KOM-PGA-VSF)" userId="fd3b2067-2981-4ad8-bf3a-d2e1004e4fa8" providerId="ADAL" clId="{EDEF8CE5-AEB3-4B6F-9D97-5FC90FB664AC}" dt="2020-12-23T10:54:41.146" v="80" actId="20577"/>
          <ac:spMkLst>
            <pc:docMk/>
            <pc:sldMk cId="2802950074" sldId="315"/>
            <ac:spMk id="27" creationId="{46A6B042-39EE-4A58-BBAA-13D52264B660}"/>
          </ac:spMkLst>
        </pc:spChg>
        <pc:spChg chg="mod">
          <ac:chgData name="Weigel Stefan (KOM-PGA-VSF)" userId="fd3b2067-2981-4ad8-bf3a-d2e1004e4fa8" providerId="ADAL" clId="{EDEF8CE5-AEB3-4B6F-9D97-5FC90FB664AC}" dt="2020-12-23T10:55:35.200" v="86" actId="1038"/>
          <ac:spMkLst>
            <pc:docMk/>
            <pc:sldMk cId="2802950074" sldId="315"/>
            <ac:spMk id="28" creationId="{4492A3CD-6943-423D-BFEC-8129889E8B6F}"/>
          </ac:spMkLst>
        </pc:spChg>
        <pc:spChg chg="mod">
          <ac:chgData name="Weigel Stefan (KOM-PGA-VSF)" userId="fd3b2067-2981-4ad8-bf3a-d2e1004e4fa8" providerId="ADAL" clId="{EDEF8CE5-AEB3-4B6F-9D97-5FC90FB664AC}" dt="2020-12-23T10:55:53.829" v="92" actId="20577"/>
          <ac:spMkLst>
            <pc:docMk/>
            <pc:sldMk cId="2802950074" sldId="315"/>
            <ac:spMk id="31" creationId="{7491A47D-CAD4-478D-8F3A-296FFCB799F9}"/>
          </ac:spMkLst>
        </pc:spChg>
        <pc:spChg chg="mod">
          <ac:chgData name="Weigel Stefan (KOM-PGA-VSF)" userId="fd3b2067-2981-4ad8-bf3a-d2e1004e4fa8" providerId="ADAL" clId="{EDEF8CE5-AEB3-4B6F-9D97-5FC90FB664AC}" dt="2020-12-23T10:54:07.178" v="67" actId="1038"/>
          <ac:spMkLst>
            <pc:docMk/>
            <pc:sldMk cId="2802950074" sldId="315"/>
            <ac:spMk id="32" creationId="{E65DDA4F-7190-4D5B-B875-6818D18C9F6E}"/>
          </ac:spMkLst>
        </pc:spChg>
        <pc:spChg chg="mod">
          <ac:chgData name="Weigel Stefan (KOM-PGA-VSF)" userId="fd3b2067-2981-4ad8-bf3a-d2e1004e4fa8" providerId="ADAL" clId="{EDEF8CE5-AEB3-4B6F-9D97-5FC90FB664AC}" dt="2020-12-23T10:53:11.504" v="54" actId="20577"/>
          <ac:spMkLst>
            <pc:docMk/>
            <pc:sldMk cId="2802950074" sldId="315"/>
            <ac:spMk id="42" creationId="{A033A810-BFFD-406C-88F8-2749262D34FE}"/>
          </ac:spMkLst>
        </pc:spChg>
        <pc:cxnChg chg="mod">
          <ac:chgData name="Weigel Stefan (KOM-PGA-VSF)" userId="fd3b2067-2981-4ad8-bf3a-d2e1004e4fa8" providerId="ADAL" clId="{EDEF8CE5-AEB3-4B6F-9D97-5FC90FB664AC}" dt="2020-12-23T10:54:17.729" v="72" actId="1037"/>
          <ac:cxnSpMkLst>
            <pc:docMk/>
            <pc:sldMk cId="2802950074" sldId="315"/>
            <ac:cxnSpMk id="41" creationId="{F0EC26E9-4A45-4EBB-BA47-C888CB01B42C}"/>
          </ac:cxnSpMkLst>
        </pc:cxnChg>
      </pc:sldChg>
      <pc:sldChg chg="modSp mod">
        <pc:chgData name="Weigel Stefan (KOM-PGA-VSF)" userId="fd3b2067-2981-4ad8-bf3a-d2e1004e4fa8" providerId="ADAL" clId="{EDEF8CE5-AEB3-4B6F-9D97-5FC90FB664AC}" dt="2020-12-23T10:57:56.671" v="137" actId="1038"/>
        <pc:sldMkLst>
          <pc:docMk/>
          <pc:sldMk cId="3685268070" sldId="316"/>
        </pc:sldMkLst>
        <pc:spChg chg="mod">
          <ac:chgData name="Weigel Stefan (KOM-PGA-VSF)" userId="fd3b2067-2981-4ad8-bf3a-d2e1004e4fa8" providerId="ADAL" clId="{EDEF8CE5-AEB3-4B6F-9D97-5FC90FB664AC}" dt="2020-12-23T10:57:08.004" v="125" actId="20577"/>
          <ac:spMkLst>
            <pc:docMk/>
            <pc:sldMk cId="3685268070" sldId="316"/>
            <ac:spMk id="27" creationId="{46A6B042-39EE-4A58-BBAA-13D52264B660}"/>
          </ac:spMkLst>
        </pc:spChg>
        <pc:spChg chg="mod">
          <ac:chgData name="Weigel Stefan (KOM-PGA-VSF)" userId="fd3b2067-2981-4ad8-bf3a-d2e1004e4fa8" providerId="ADAL" clId="{EDEF8CE5-AEB3-4B6F-9D97-5FC90FB664AC}" dt="2020-12-23T10:57:56.671" v="137" actId="1038"/>
          <ac:spMkLst>
            <pc:docMk/>
            <pc:sldMk cId="3685268070" sldId="316"/>
            <ac:spMk id="28" creationId="{4492A3CD-6943-423D-BFEC-8129889E8B6F}"/>
          </ac:spMkLst>
        </pc:spChg>
        <pc:spChg chg="mod">
          <ac:chgData name="Weigel Stefan (KOM-PGA-VSF)" userId="fd3b2067-2981-4ad8-bf3a-d2e1004e4fa8" providerId="ADAL" clId="{EDEF8CE5-AEB3-4B6F-9D97-5FC90FB664AC}" dt="2020-12-23T10:57:20.598" v="131" actId="20577"/>
          <ac:spMkLst>
            <pc:docMk/>
            <pc:sldMk cId="3685268070" sldId="316"/>
            <ac:spMk id="31" creationId="{7491A47D-CAD4-478D-8F3A-296FFCB799F9}"/>
          </ac:spMkLst>
        </pc:spChg>
        <pc:spChg chg="mod">
          <ac:chgData name="Weigel Stefan (KOM-PGA-VSF)" userId="fd3b2067-2981-4ad8-bf3a-d2e1004e4fa8" providerId="ADAL" clId="{EDEF8CE5-AEB3-4B6F-9D97-5FC90FB664AC}" dt="2020-12-23T10:56:56.716" v="119" actId="1038"/>
          <ac:spMkLst>
            <pc:docMk/>
            <pc:sldMk cId="3685268070" sldId="316"/>
            <ac:spMk id="32" creationId="{E65DDA4F-7190-4D5B-B875-6818D18C9F6E}"/>
          </ac:spMkLst>
        </pc:spChg>
        <pc:spChg chg="mod">
          <ac:chgData name="Weigel Stefan (KOM-PGA-VSF)" userId="fd3b2067-2981-4ad8-bf3a-d2e1004e4fa8" providerId="ADAL" clId="{EDEF8CE5-AEB3-4B6F-9D97-5FC90FB664AC}" dt="2020-12-23T10:56:04.548" v="94" actId="20577"/>
          <ac:spMkLst>
            <pc:docMk/>
            <pc:sldMk cId="3685268070" sldId="316"/>
            <ac:spMk id="41" creationId="{DD1D7DED-B5E6-4EA2-9113-4A179D74E57F}"/>
          </ac:spMkLst>
        </pc:spChg>
        <pc:cxnChg chg="mod">
          <ac:chgData name="Weigel Stefan (KOM-PGA-VSF)" userId="fd3b2067-2981-4ad8-bf3a-d2e1004e4fa8" providerId="ADAL" clId="{EDEF8CE5-AEB3-4B6F-9D97-5FC90FB664AC}" dt="2020-12-23T10:56:09.872" v="100" actId="1037"/>
          <ac:cxnSpMkLst>
            <pc:docMk/>
            <pc:sldMk cId="3685268070" sldId="316"/>
            <ac:cxnSpMk id="20" creationId="{07FCC63F-5E2F-43DF-84ED-5FFEC92A0042}"/>
          </ac:cxnSpMkLst>
        </pc:cxnChg>
      </pc:sldChg>
    </pc:docChg>
  </pc:docChgLst>
  <pc:docChgLst>
    <pc:chgData name="Zeller Andrea (KOM-MF-CID)" userId="5e8ae8d3-c7b8-435e-9429-37345fcff44c" providerId="ADAL" clId="{29954E35-41BF-4A3F-9459-33302CDBE46E}"/>
    <pc:docChg chg="undo custSel modSld">
      <pc:chgData name="Zeller Andrea (KOM-MF-CID)" userId="5e8ae8d3-c7b8-435e-9429-37345fcff44c" providerId="ADAL" clId="{29954E35-41BF-4A3F-9459-33302CDBE46E}" dt="2021-11-03T12:48:45.404" v="77" actId="478"/>
      <pc:docMkLst>
        <pc:docMk/>
      </pc:docMkLst>
      <pc:sldChg chg="addSp delSp modSp mod">
        <pc:chgData name="Zeller Andrea (KOM-MF-CID)" userId="5e8ae8d3-c7b8-435e-9429-37345fcff44c" providerId="ADAL" clId="{29954E35-41BF-4A3F-9459-33302CDBE46E}" dt="2021-11-03T12:48:45.404" v="77" actId="478"/>
        <pc:sldMkLst>
          <pc:docMk/>
          <pc:sldMk cId="3808035539" sldId="270"/>
        </pc:sldMkLst>
        <pc:spChg chg="mod">
          <ac:chgData name="Zeller Andrea (KOM-MF-CID)" userId="5e8ae8d3-c7b8-435e-9429-37345fcff44c" providerId="ADAL" clId="{29954E35-41BF-4A3F-9459-33302CDBE46E}" dt="2021-11-03T12:44:44.181" v="10" actId="14100"/>
          <ac:spMkLst>
            <pc:docMk/>
            <pc:sldMk cId="3808035539" sldId="270"/>
            <ac:spMk id="2" creationId="{00000000-0000-0000-0000-000000000000}"/>
          </ac:spMkLst>
        </pc:spChg>
        <pc:spChg chg="del mod">
          <ac:chgData name="Zeller Andrea (KOM-MF-CID)" userId="5e8ae8d3-c7b8-435e-9429-37345fcff44c" providerId="ADAL" clId="{29954E35-41BF-4A3F-9459-33302CDBE46E}" dt="2021-11-03T12:48:09.117" v="64" actId="478"/>
          <ac:spMkLst>
            <pc:docMk/>
            <pc:sldMk cId="3808035539" sldId="270"/>
            <ac:spMk id="3" creationId="{00000000-0000-0000-0000-000000000000}"/>
          </ac:spMkLst>
        </pc:spChg>
        <pc:spChg chg="del mod">
          <ac:chgData name="Zeller Andrea (KOM-MF-CID)" userId="5e8ae8d3-c7b8-435e-9429-37345fcff44c" providerId="ADAL" clId="{29954E35-41BF-4A3F-9459-33302CDBE46E}" dt="2021-11-03T12:46:00.895" v="42" actId="478"/>
          <ac:spMkLst>
            <pc:docMk/>
            <pc:sldMk cId="3808035539" sldId="270"/>
            <ac:spMk id="5" creationId="{00000000-0000-0000-0000-000000000000}"/>
          </ac:spMkLst>
        </pc:spChg>
        <pc:spChg chg="add mod">
          <ac:chgData name="Zeller Andrea (KOM-MF-CID)" userId="5e8ae8d3-c7b8-435e-9429-37345fcff44c" providerId="ADAL" clId="{29954E35-41BF-4A3F-9459-33302CDBE46E}" dt="2021-11-03T12:44:32.958" v="9"/>
          <ac:spMkLst>
            <pc:docMk/>
            <pc:sldMk cId="3808035539" sldId="270"/>
            <ac:spMk id="6" creationId="{0148E78D-7FBB-46BC-A7E3-0EFE6D9E4679}"/>
          </ac:spMkLst>
        </pc:spChg>
        <pc:spChg chg="add del">
          <ac:chgData name="Zeller Andrea (KOM-MF-CID)" userId="5e8ae8d3-c7b8-435e-9429-37345fcff44c" providerId="ADAL" clId="{29954E35-41BF-4A3F-9459-33302CDBE46E}" dt="2021-11-03T12:45:27.130" v="12" actId="22"/>
          <ac:spMkLst>
            <pc:docMk/>
            <pc:sldMk cId="3808035539" sldId="270"/>
            <ac:spMk id="8" creationId="{C5394BCF-D835-46E6-A721-1DD2A68F8063}"/>
          </ac:spMkLst>
        </pc:spChg>
        <pc:spChg chg="add mod">
          <ac:chgData name="Zeller Andrea (KOM-MF-CID)" userId="5e8ae8d3-c7b8-435e-9429-37345fcff44c" providerId="ADAL" clId="{29954E35-41BF-4A3F-9459-33302CDBE46E}" dt="2021-11-03T12:48:42.093" v="76" actId="1037"/>
          <ac:spMkLst>
            <pc:docMk/>
            <pc:sldMk cId="3808035539" sldId="270"/>
            <ac:spMk id="10" creationId="{41B9B9AB-4B12-4760-AF37-4FABDDFAE68B}"/>
          </ac:spMkLst>
        </pc:spChg>
        <pc:graphicFrameChg chg="mod">
          <ac:chgData name="Zeller Andrea (KOM-MF-CID)" userId="5e8ae8d3-c7b8-435e-9429-37345fcff44c" providerId="ADAL" clId="{29954E35-41BF-4A3F-9459-33302CDBE46E}" dt="2021-11-03T12:43:16.882" v="4" actId="255"/>
          <ac:graphicFrameMkLst>
            <pc:docMk/>
            <pc:sldMk cId="3808035539" sldId="270"/>
            <ac:graphicFrameMk id="9" creationId="{00000000-0000-0000-0000-000000000000}"/>
          </ac:graphicFrameMkLst>
        </pc:graphicFrameChg>
        <pc:cxnChg chg="add del">
          <ac:chgData name="Zeller Andrea (KOM-MF-CID)" userId="5e8ae8d3-c7b8-435e-9429-37345fcff44c" providerId="ADAL" clId="{29954E35-41BF-4A3F-9459-33302CDBE46E}" dt="2021-11-03T12:48:45.404" v="77" actId="478"/>
          <ac:cxnSpMkLst>
            <pc:docMk/>
            <pc:sldMk cId="3808035539" sldId="270"/>
            <ac:cxnSpMk id="11" creationId="{BF63490B-C87B-4086-8901-5BDB02519BC7}"/>
          </ac:cxnSpMkLst>
        </pc:cxnChg>
      </pc:sldChg>
    </pc:docChg>
  </pc:docChgLst>
  <pc:docChgLst>
    <pc:chgData name="Meyer Raphael (PAR-ES)" userId="79615dfe-ed48-4e74-a40f-4f7b034c1c27" providerId="ADAL" clId="{10F694D6-807D-4949-9503-515E89DD48AB}"/>
    <pc:docChg chg="delSld">
      <pc:chgData name="Meyer Raphael (PAR-ES)" userId="79615dfe-ed48-4e74-a40f-4f7b034c1c27" providerId="ADAL" clId="{10F694D6-807D-4949-9503-515E89DD48AB}" dt="2022-03-09T15:20:13.407" v="0" actId="47"/>
      <pc:docMkLst>
        <pc:docMk/>
      </pc:docMkLst>
      <pc:sldChg chg="del">
        <pc:chgData name="Meyer Raphael (PAR-ES)" userId="79615dfe-ed48-4e74-a40f-4f7b034c1c27" providerId="ADAL" clId="{10F694D6-807D-4949-9503-515E89DD48AB}" dt="2022-03-09T15:20:13.407" v="0" actId="47"/>
        <pc:sldMkLst>
          <pc:docMk/>
          <pc:sldMk cId="1214120989" sldId="414"/>
        </pc:sldMkLst>
      </pc:sldChg>
      <pc:sldChg chg="del">
        <pc:chgData name="Meyer Raphael (PAR-ES)" userId="79615dfe-ed48-4e74-a40f-4f7b034c1c27" providerId="ADAL" clId="{10F694D6-807D-4949-9503-515E89DD48AB}" dt="2022-03-09T15:20:13.407" v="0" actId="47"/>
        <pc:sldMkLst>
          <pc:docMk/>
          <pc:sldMk cId="3878003729" sldId="415"/>
        </pc:sldMkLst>
      </pc:sldChg>
      <pc:sldChg chg="del">
        <pc:chgData name="Meyer Raphael (PAR-ES)" userId="79615dfe-ed48-4e74-a40f-4f7b034c1c27" providerId="ADAL" clId="{10F694D6-807D-4949-9503-515E89DD48AB}" dt="2022-03-09T15:20:13.407" v="0" actId="47"/>
        <pc:sldMkLst>
          <pc:docMk/>
          <pc:sldMk cId="2150380132" sldId="416"/>
        </pc:sldMkLst>
      </pc:sldChg>
    </pc:docChg>
  </pc:docChgLst>
  <pc:docChgLst>
    <pc:chgData name="Weigel Stefan (PAR-EPS)" userId="fd3b2067-2981-4ad8-bf3a-d2e1004e4fa8" providerId="ADAL" clId="{DA524E57-7FDA-4C47-AE68-4C2220496506}"/>
    <pc:docChg chg="modSld">
      <pc:chgData name="Weigel Stefan (PAR-EPS)" userId="fd3b2067-2981-4ad8-bf3a-d2e1004e4fa8" providerId="ADAL" clId="{DA524E57-7FDA-4C47-AE68-4C2220496506}" dt="2025-02-25T09:17:08.402" v="23" actId="207"/>
      <pc:docMkLst>
        <pc:docMk/>
      </pc:docMkLst>
      <pc:sldChg chg="modSp mod">
        <pc:chgData name="Weigel Stefan (PAR-EPS)" userId="fd3b2067-2981-4ad8-bf3a-d2e1004e4fa8" providerId="ADAL" clId="{DA524E57-7FDA-4C47-AE68-4C2220496506}" dt="2025-02-25T09:17:08.402" v="23" actId="207"/>
        <pc:sldMkLst>
          <pc:docMk/>
          <pc:sldMk cId="3865012081" sldId="415"/>
        </pc:sldMkLst>
        <pc:graphicFrameChg chg="mod">
          <ac:chgData name="Weigel Stefan (PAR-EPS)" userId="fd3b2067-2981-4ad8-bf3a-d2e1004e4fa8" providerId="ADAL" clId="{DA524E57-7FDA-4C47-AE68-4C2220496506}" dt="2025-02-25T09:17:08.402" v="23" actId="207"/>
          <ac:graphicFrameMkLst>
            <pc:docMk/>
            <pc:sldMk cId="3865012081" sldId="415"/>
            <ac:graphicFrameMk id="9" creationId="{00000000-0000-0000-0000-000000000000}"/>
          </ac:graphicFrameMkLst>
        </pc:graphicFrameChg>
      </pc:sldChg>
    </pc:docChg>
  </pc:docChgLst>
  <pc:docChgLst>
    <pc:chgData name="Meyer Raphael (PAR-ES)" userId="79615dfe-ed48-4e74-a40f-4f7b034c1c27" providerId="ADAL" clId="{470C434F-95E8-436B-A1F0-5B170DA19DE6}"/>
    <pc:docChg chg="undo custSel addSld modSld">
      <pc:chgData name="Meyer Raphael (PAR-ES)" userId="79615dfe-ed48-4e74-a40f-4f7b034c1c27" providerId="ADAL" clId="{470C434F-95E8-436B-A1F0-5B170DA19DE6}" dt="2021-11-08T09:49:12.579" v="193" actId="27918"/>
      <pc:docMkLst>
        <pc:docMk/>
      </pc:docMkLst>
      <pc:sldChg chg="modSp mod">
        <pc:chgData name="Meyer Raphael (PAR-ES)" userId="79615dfe-ed48-4e74-a40f-4f7b034c1c27" providerId="ADAL" clId="{470C434F-95E8-436B-A1F0-5B170DA19DE6}" dt="2021-11-08T09:39:09.766" v="188" actId="1036"/>
        <pc:sldMkLst>
          <pc:docMk/>
          <pc:sldMk cId="3808035539" sldId="270"/>
        </pc:sldMkLst>
        <pc:spChg chg="mod">
          <ac:chgData name="Meyer Raphael (PAR-ES)" userId="79615dfe-ed48-4e74-a40f-4f7b034c1c27" providerId="ADAL" clId="{470C434F-95E8-436B-A1F0-5B170DA19DE6}" dt="2021-11-08T09:35:57.599" v="45" actId="20577"/>
          <ac:spMkLst>
            <pc:docMk/>
            <pc:sldMk cId="3808035539" sldId="270"/>
            <ac:spMk id="2" creationId="{00000000-0000-0000-0000-000000000000}"/>
          </ac:spMkLst>
        </pc:spChg>
        <pc:spChg chg="mod">
          <ac:chgData name="Meyer Raphael (PAR-ES)" userId="79615dfe-ed48-4e74-a40f-4f7b034c1c27" providerId="ADAL" clId="{470C434F-95E8-436B-A1F0-5B170DA19DE6}" dt="2021-11-08T09:37:06.055" v="129" actId="20577"/>
          <ac:spMkLst>
            <pc:docMk/>
            <pc:sldMk cId="3808035539" sldId="270"/>
            <ac:spMk id="6" creationId="{0148E78D-7FBB-46BC-A7E3-0EFE6D9E4679}"/>
          </ac:spMkLst>
        </pc:spChg>
        <pc:spChg chg="mod">
          <ac:chgData name="Meyer Raphael (PAR-ES)" userId="79615dfe-ed48-4e74-a40f-4f7b034c1c27" providerId="ADAL" clId="{470C434F-95E8-436B-A1F0-5B170DA19DE6}" dt="2021-11-08T09:39:09.766" v="188" actId="1036"/>
          <ac:spMkLst>
            <pc:docMk/>
            <pc:sldMk cId="3808035539" sldId="270"/>
            <ac:spMk id="10" creationId="{41B9B9AB-4B12-4760-AF37-4FABDDFAE68B}"/>
          </ac:spMkLst>
        </pc:spChg>
        <pc:graphicFrameChg chg="mod">
          <ac:chgData name="Meyer Raphael (PAR-ES)" userId="79615dfe-ed48-4e74-a40f-4f7b034c1c27" providerId="ADAL" clId="{470C434F-95E8-436B-A1F0-5B170DA19DE6}" dt="2021-11-08T09:35:17.046" v="23"/>
          <ac:graphicFrameMkLst>
            <pc:docMk/>
            <pc:sldMk cId="3808035539" sldId="270"/>
            <ac:graphicFrameMk id="9" creationId="{00000000-0000-0000-0000-000000000000}"/>
          </ac:graphicFrameMkLst>
        </pc:graphicFrameChg>
      </pc:sldChg>
      <pc:sldChg chg="add mod">
        <pc:chgData name="Meyer Raphael (PAR-ES)" userId="79615dfe-ed48-4e74-a40f-4f7b034c1c27" providerId="ADAL" clId="{470C434F-95E8-436B-A1F0-5B170DA19DE6}" dt="2021-11-08T09:49:12.579" v="193" actId="27918"/>
        <pc:sldMkLst>
          <pc:docMk/>
          <pc:sldMk cId="2540367841" sldId="274"/>
        </pc:sldMkLst>
      </pc:sldChg>
    </pc:docChg>
  </pc:docChgLst>
  <pc:docChgLst>
    <pc:chgData name="Meyer Raphael (PAR-ES)" userId="79615dfe-ed48-4e74-a40f-4f7b034c1c27" providerId="ADAL" clId="{73F4FE47-712E-4DC0-BDEC-155433499AFA}"/>
    <pc:docChg chg="modSld">
      <pc:chgData name="Meyer Raphael (PAR-ES)" userId="79615dfe-ed48-4e74-a40f-4f7b034c1c27" providerId="ADAL" clId="{73F4FE47-712E-4DC0-BDEC-155433499AFA}" dt="2021-10-20T12:32:04.938" v="7" actId="20577"/>
      <pc:docMkLst>
        <pc:docMk/>
      </pc:docMkLst>
      <pc:sldChg chg="addSp modSp mod">
        <pc:chgData name="Meyer Raphael (PAR-ES)" userId="79615dfe-ed48-4e74-a40f-4f7b034c1c27" providerId="ADAL" clId="{73F4FE47-712E-4DC0-BDEC-155433499AFA}" dt="2021-10-20T12:32:04.938" v="7" actId="20577"/>
        <pc:sldMkLst>
          <pc:docMk/>
          <pc:sldMk cId="3759573184" sldId="375"/>
        </pc:sldMkLst>
        <pc:graphicFrameChg chg="add mod modGraphic">
          <ac:chgData name="Meyer Raphael (PAR-ES)" userId="79615dfe-ed48-4e74-a40f-4f7b034c1c27" providerId="ADAL" clId="{73F4FE47-712E-4DC0-BDEC-155433499AFA}" dt="2021-10-20T12:32:04.938" v="7" actId="20577"/>
          <ac:graphicFrameMkLst>
            <pc:docMk/>
            <pc:sldMk cId="3759573184" sldId="375"/>
            <ac:graphicFrameMk id="11" creationId="{622F4C5D-EB92-4061-B40F-47BBCBF5D8BD}"/>
          </ac:graphicFrameMkLst>
        </pc:graphicFrameChg>
      </pc:sldChg>
      <pc:sldChg chg="mod">
        <pc:chgData name="Meyer Raphael (PAR-ES)" userId="79615dfe-ed48-4e74-a40f-4f7b034c1c27" providerId="ADAL" clId="{73F4FE47-712E-4DC0-BDEC-155433499AFA}" dt="2021-10-20T11:25:47.998" v="1" actId="27918"/>
        <pc:sldMkLst>
          <pc:docMk/>
          <pc:sldMk cId="1199121354" sldId="417"/>
        </pc:sldMkLst>
      </pc:sldChg>
    </pc:docChg>
  </pc:docChgLst>
  <pc:docChgLst>
    <pc:chgData name="Meyer Raphael (PAR-ES)" userId="79615dfe-ed48-4e74-a40f-4f7b034c1c27" providerId="ADAL" clId="{3156068F-21D5-4E72-87AA-951E564FE16F}"/>
    <pc:docChg chg="modSld">
      <pc:chgData name="Meyer Raphael (PAR-ES)" userId="79615dfe-ed48-4e74-a40f-4f7b034c1c27" providerId="ADAL" clId="{3156068F-21D5-4E72-87AA-951E564FE16F}" dt="2021-08-20T12:08:49.615" v="92" actId="1037"/>
      <pc:docMkLst>
        <pc:docMk/>
      </pc:docMkLst>
      <pc:sldChg chg="modSp mod">
        <pc:chgData name="Meyer Raphael (PAR-ES)" userId="79615dfe-ed48-4e74-a40f-4f7b034c1c27" providerId="ADAL" clId="{3156068F-21D5-4E72-87AA-951E564FE16F}" dt="2021-08-20T12:03:51.406" v="46" actId="1037"/>
        <pc:sldMkLst>
          <pc:docMk/>
          <pc:sldMk cId="1495152177" sldId="298"/>
        </pc:sldMkLst>
        <pc:spChg chg="mod">
          <ac:chgData name="Meyer Raphael (PAR-ES)" userId="79615dfe-ed48-4e74-a40f-4f7b034c1c27" providerId="ADAL" clId="{3156068F-21D5-4E72-87AA-951E564FE16F}" dt="2021-08-20T12:03:51.406" v="46" actId="1037"/>
          <ac:spMkLst>
            <pc:docMk/>
            <pc:sldMk cId="1495152177" sldId="298"/>
            <ac:spMk id="12" creationId="{970D2C07-63A2-4265-B006-56F685FE80A5}"/>
          </ac:spMkLst>
        </pc:spChg>
        <pc:spChg chg="mod">
          <ac:chgData name="Meyer Raphael (PAR-ES)" userId="79615dfe-ed48-4e74-a40f-4f7b034c1c27" providerId="ADAL" clId="{3156068F-21D5-4E72-87AA-951E564FE16F}" dt="2021-08-20T12:03:51.406" v="46" actId="1037"/>
          <ac:spMkLst>
            <pc:docMk/>
            <pc:sldMk cId="1495152177" sldId="298"/>
            <ac:spMk id="13" creationId="{93412675-62AA-41D8-997C-4E877ED953A8}"/>
          </ac:spMkLst>
        </pc:spChg>
        <pc:graphicFrameChg chg="modGraphic">
          <ac:chgData name="Meyer Raphael (PAR-ES)" userId="79615dfe-ed48-4e74-a40f-4f7b034c1c27" providerId="ADAL" clId="{3156068F-21D5-4E72-87AA-951E564FE16F}" dt="2021-08-20T11:59:44.757" v="19"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3156068F-21D5-4E72-87AA-951E564FE16F}" dt="2021-08-20T12:03:51.406" v="46" actId="1037"/>
          <ac:cxnSpMkLst>
            <pc:docMk/>
            <pc:sldMk cId="1495152177" sldId="298"/>
            <ac:cxnSpMk id="8" creationId="{6F3EB9D3-E612-42D9-859B-1905BD876C26}"/>
          </ac:cxnSpMkLst>
        </pc:cxnChg>
      </pc:sldChg>
      <pc:sldChg chg="modSp mod">
        <pc:chgData name="Meyer Raphael (PAR-ES)" userId="79615dfe-ed48-4e74-a40f-4f7b034c1c27" providerId="ADAL" clId="{3156068F-21D5-4E72-87AA-951E564FE16F}" dt="2021-08-20T12:06:55.416" v="72" actId="27918"/>
        <pc:sldMkLst>
          <pc:docMk/>
          <pc:sldMk cId="3590012689" sldId="365"/>
        </pc:sldMkLst>
        <pc:spChg chg="mod">
          <ac:chgData name="Meyer Raphael (PAR-ES)" userId="79615dfe-ed48-4e74-a40f-4f7b034c1c27" providerId="ADAL" clId="{3156068F-21D5-4E72-87AA-951E564FE16F}" dt="2021-08-20T12:06:01.587" v="70" actId="1038"/>
          <ac:spMkLst>
            <pc:docMk/>
            <pc:sldMk cId="3590012689" sldId="365"/>
            <ac:spMk id="12" creationId="{970D2C07-63A2-4265-B006-56F685FE80A5}"/>
          </ac:spMkLst>
        </pc:spChg>
        <pc:spChg chg="mod">
          <ac:chgData name="Meyer Raphael (PAR-ES)" userId="79615dfe-ed48-4e74-a40f-4f7b034c1c27" providerId="ADAL" clId="{3156068F-21D5-4E72-87AA-951E564FE16F}" dt="2021-08-20T12:06:01.587" v="70" actId="1038"/>
          <ac:spMkLst>
            <pc:docMk/>
            <pc:sldMk cId="3590012689" sldId="365"/>
            <ac:spMk id="13" creationId="{93412675-62AA-41D8-997C-4E877ED953A8}"/>
          </ac:spMkLst>
        </pc:spChg>
        <pc:graphicFrameChg chg="mod modGraphic">
          <ac:chgData name="Meyer Raphael (PAR-ES)" userId="79615dfe-ed48-4e74-a40f-4f7b034c1c27" providerId="ADAL" clId="{3156068F-21D5-4E72-87AA-951E564FE16F}" dt="2021-08-20T12:00:01.526" v="24"/>
          <ac:graphicFrameMkLst>
            <pc:docMk/>
            <pc:sldMk cId="3590012689" sldId="365"/>
            <ac:graphicFrameMk id="9" creationId="{E1369C63-C4A7-403B-A03F-B004599F910A}"/>
          </ac:graphicFrameMkLst>
        </pc:graphicFrameChg>
        <pc:cxnChg chg="mod">
          <ac:chgData name="Meyer Raphael (PAR-ES)" userId="79615dfe-ed48-4e74-a40f-4f7b034c1c27" providerId="ADAL" clId="{3156068F-21D5-4E72-87AA-951E564FE16F}" dt="2021-08-20T12:06:01.587" v="70" actId="1038"/>
          <ac:cxnSpMkLst>
            <pc:docMk/>
            <pc:sldMk cId="3590012689" sldId="365"/>
            <ac:cxnSpMk id="8" creationId="{6F3EB9D3-E612-42D9-859B-1905BD876C26}"/>
          </ac:cxnSpMkLst>
        </pc:cxnChg>
      </pc:sldChg>
      <pc:sldChg chg="modSp mod">
        <pc:chgData name="Meyer Raphael (PAR-ES)" userId="79615dfe-ed48-4e74-a40f-4f7b034c1c27" providerId="ADAL" clId="{3156068F-21D5-4E72-87AA-951E564FE16F}" dt="2021-08-20T12:08:49.615" v="92" actId="1037"/>
        <pc:sldMkLst>
          <pc:docMk/>
          <pc:sldMk cId="689864941" sldId="366"/>
        </pc:sldMkLst>
        <pc:spChg chg="mod">
          <ac:chgData name="Meyer Raphael (PAR-ES)" userId="79615dfe-ed48-4e74-a40f-4f7b034c1c27" providerId="ADAL" clId="{3156068F-21D5-4E72-87AA-951E564FE16F}" dt="2021-08-20T12:08:49.615" v="92" actId="1037"/>
          <ac:spMkLst>
            <pc:docMk/>
            <pc:sldMk cId="689864941" sldId="366"/>
            <ac:spMk id="12" creationId="{970D2C07-63A2-4265-B006-56F685FE80A5}"/>
          </ac:spMkLst>
        </pc:spChg>
        <pc:spChg chg="mod">
          <ac:chgData name="Meyer Raphael (PAR-ES)" userId="79615dfe-ed48-4e74-a40f-4f7b034c1c27" providerId="ADAL" clId="{3156068F-21D5-4E72-87AA-951E564FE16F}" dt="2021-08-20T12:08:49.615" v="92" actId="1037"/>
          <ac:spMkLst>
            <pc:docMk/>
            <pc:sldMk cId="689864941" sldId="366"/>
            <ac:spMk id="13" creationId="{93412675-62AA-41D8-997C-4E877ED953A8}"/>
          </ac:spMkLst>
        </pc:spChg>
        <pc:graphicFrameChg chg="mod modGraphic">
          <ac:chgData name="Meyer Raphael (PAR-ES)" userId="79615dfe-ed48-4e74-a40f-4f7b034c1c27" providerId="ADAL" clId="{3156068F-21D5-4E72-87AA-951E564FE16F}" dt="2021-08-20T12:00:06.295" v="25"/>
          <ac:graphicFrameMkLst>
            <pc:docMk/>
            <pc:sldMk cId="689864941" sldId="366"/>
            <ac:graphicFrameMk id="9" creationId="{E1369C63-C4A7-403B-A03F-B004599F910A}"/>
          </ac:graphicFrameMkLst>
        </pc:graphicFrameChg>
        <pc:cxnChg chg="mod">
          <ac:chgData name="Meyer Raphael (PAR-ES)" userId="79615dfe-ed48-4e74-a40f-4f7b034c1c27" providerId="ADAL" clId="{3156068F-21D5-4E72-87AA-951E564FE16F}" dt="2021-08-20T12:08:49.615" v="92" actId="1037"/>
          <ac:cxnSpMkLst>
            <pc:docMk/>
            <pc:sldMk cId="689864941" sldId="366"/>
            <ac:cxnSpMk id="8" creationId="{6F3EB9D3-E612-42D9-859B-1905BD876C26}"/>
          </ac:cxnSpMkLst>
        </pc:cxnChg>
      </pc:sldChg>
    </pc:docChg>
  </pc:docChgLst>
  <pc:docChgLst>
    <pc:chgData name="Meyer Raphael (PAR-ES)" userId="79615dfe-ed48-4e74-a40f-4f7b034c1c27" providerId="ADAL" clId="{50B11D1E-3C98-42A5-AC2C-CB81D3349B72}"/>
    <pc:docChg chg="undo custSel modSld">
      <pc:chgData name="Meyer Raphael (PAR-ES)" userId="79615dfe-ed48-4e74-a40f-4f7b034c1c27" providerId="ADAL" clId="{50B11D1E-3C98-42A5-AC2C-CB81D3349B72}" dt="2021-05-25T14:17:56.453" v="188" actId="1037"/>
      <pc:docMkLst>
        <pc:docMk/>
      </pc:docMkLst>
      <pc:sldChg chg="addSp delSp modSp mod">
        <pc:chgData name="Meyer Raphael (PAR-ES)" userId="79615dfe-ed48-4e74-a40f-4f7b034c1c27" providerId="ADAL" clId="{50B11D1E-3C98-42A5-AC2C-CB81D3349B72}" dt="2021-05-25T14:17:56.453" v="188" actId="1037"/>
        <pc:sldMkLst>
          <pc:docMk/>
          <pc:sldMk cId="1495152177" sldId="298"/>
        </pc:sldMkLst>
        <pc:spChg chg="mod">
          <ac:chgData name="Meyer Raphael (PAR-ES)" userId="79615dfe-ed48-4e74-a40f-4f7b034c1c27" providerId="ADAL" clId="{50B11D1E-3C98-42A5-AC2C-CB81D3349B72}" dt="2021-05-25T14:07:58.277" v="45" actId="1076"/>
          <ac:spMkLst>
            <pc:docMk/>
            <pc:sldMk cId="1495152177" sldId="298"/>
            <ac:spMk id="6" creationId="{0EEE4EA3-E16E-424B-97F9-53A8F5D585AE}"/>
          </ac:spMkLst>
        </pc:spChg>
        <pc:spChg chg="add mod">
          <ac:chgData name="Meyer Raphael (PAR-ES)" userId="79615dfe-ed48-4e74-a40f-4f7b034c1c27" providerId="ADAL" clId="{50B11D1E-3C98-42A5-AC2C-CB81D3349B72}" dt="2021-05-25T14:17:56.453" v="188" actId="1037"/>
          <ac:spMkLst>
            <pc:docMk/>
            <pc:sldMk cId="1495152177" sldId="298"/>
            <ac:spMk id="12" creationId="{970D2C07-63A2-4265-B006-56F685FE80A5}"/>
          </ac:spMkLst>
        </pc:spChg>
        <pc:spChg chg="add mod">
          <ac:chgData name="Meyer Raphael (PAR-ES)" userId="79615dfe-ed48-4e74-a40f-4f7b034c1c27" providerId="ADAL" clId="{50B11D1E-3C98-42A5-AC2C-CB81D3349B72}" dt="2021-05-25T14:17:56.453" v="188" actId="1037"/>
          <ac:spMkLst>
            <pc:docMk/>
            <pc:sldMk cId="1495152177" sldId="298"/>
            <ac:spMk id="13" creationId="{93412675-62AA-41D8-997C-4E877ED953A8}"/>
          </ac:spMkLst>
        </pc:spChg>
        <pc:spChg chg="add del mod">
          <ac:chgData name="Meyer Raphael (PAR-ES)" userId="79615dfe-ed48-4e74-a40f-4f7b034c1c27" providerId="ADAL" clId="{50B11D1E-3C98-42A5-AC2C-CB81D3349B72}" dt="2021-05-25T14:16:37.093" v="156" actId="478"/>
          <ac:spMkLst>
            <pc:docMk/>
            <pc:sldMk cId="1495152177" sldId="298"/>
            <ac:spMk id="14" creationId="{205BF4D3-0DD6-43D2-894F-B7A9915CC8F0}"/>
          </ac:spMkLst>
        </pc:spChg>
        <pc:spChg chg="del">
          <ac:chgData name="Meyer Raphael (PAR-ES)" userId="79615dfe-ed48-4e74-a40f-4f7b034c1c27" providerId="ADAL" clId="{50B11D1E-3C98-42A5-AC2C-CB81D3349B72}" dt="2021-05-25T13:47:38.306" v="17" actId="478"/>
          <ac:spMkLst>
            <pc:docMk/>
            <pc:sldMk cId="1495152177" sldId="298"/>
            <ac:spMk id="15" creationId="{CC1F0CCA-7B55-41F9-A1FF-769ED7C753BD}"/>
          </ac:spMkLst>
        </pc:spChg>
        <pc:graphicFrameChg chg="mod">
          <ac:chgData name="Meyer Raphael (PAR-ES)" userId="79615dfe-ed48-4e74-a40f-4f7b034c1c27" providerId="ADAL" clId="{50B11D1E-3C98-42A5-AC2C-CB81D3349B72}" dt="2021-05-25T14:15:17.600" v="124"/>
          <ac:graphicFrameMkLst>
            <pc:docMk/>
            <pc:sldMk cId="1495152177" sldId="298"/>
            <ac:graphicFrameMk id="5" creationId="{4CF6AB8B-CAB9-4C7E-8E59-E00357A4D7F0}"/>
          </ac:graphicFrameMkLst>
        </pc:graphicFrameChg>
        <pc:cxnChg chg="add mod ord">
          <ac:chgData name="Meyer Raphael (PAR-ES)" userId="79615dfe-ed48-4e74-a40f-4f7b034c1c27" providerId="ADAL" clId="{50B11D1E-3C98-42A5-AC2C-CB81D3349B72}" dt="2021-05-25T14:17:45.285" v="172" actId="1037"/>
          <ac:cxnSpMkLst>
            <pc:docMk/>
            <pc:sldMk cId="1495152177" sldId="298"/>
            <ac:cxnSpMk id="8" creationId="{6F3EB9D3-E612-42D9-859B-1905BD876C26}"/>
          </ac:cxnSpMkLst>
        </pc:cxnChg>
      </pc:sldChg>
      <pc:sldChg chg="mod">
        <pc:chgData name="Meyer Raphael (PAR-ES)" userId="79615dfe-ed48-4e74-a40f-4f7b034c1c27" providerId="ADAL" clId="{50B11D1E-3C98-42A5-AC2C-CB81D3349B72}" dt="2021-05-25T13:44:31.437" v="5" actId="27918"/>
        <pc:sldMkLst>
          <pc:docMk/>
          <pc:sldMk cId="1667945532" sldId="306"/>
        </pc:sldMkLst>
      </pc:sldChg>
      <pc:sldChg chg="mod">
        <pc:chgData name="Meyer Raphael (PAR-ES)" userId="79615dfe-ed48-4e74-a40f-4f7b034c1c27" providerId="ADAL" clId="{50B11D1E-3C98-42A5-AC2C-CB81D3349B72}" dt="2021-05-25T14:03:31.785" v="28" actId="27918"/>
        <pc:sldMkLst>
          <pc:docMk/>
          <pc:sldMk cId="3480515475" sldId="357"/>
        </pc:sldMkLst>
      </pc:sldChg>
    </pc:docChg>
  </pc:docChgLst>
  <pc:docChgLst>
    <pc:chgData name="Meyer Raphael (PAR-ES)" userId="79615dfe-ed48-4e74-a40f-4f7b034c1c27" providerId="ADAL" clId="{C3A857A9-D187-4A8A-B6CF-844B098D50BB}"/>
    <pc:docChg chg="modSld">
      <pc:chgData name="Meyer Raphael (PAR-ES)" userId="79615dfe-ed48-4e74-a40f-4f7b034c1c27" providerId="ADAL" clId="{C3A857A9-D187-4A8A-B6CF-844B098D50BB}" dt="2021-10-01T08:23:54.667" v="44" actId="20577"/>
      <pc:docMkLst>
        <pc:docMk/>
      </pc:docMkLst>
      <pc:sldChg chg="modSp mod">
        <pc:chgData name="Meyer Raphael (PAR-ES)" userId="79615dfe-ed48-4e74-a40f-4f7b034c1c27" providerId="ADAL" clId="{C3A857A9-D187-4A8A-B6CF-844B098D50BB}" dt="2021-10-01T08:23:24.970" v="37" actId="20577"/>
        <pc:sldMkLst>
          <pc:docMk/>
          <pc:sldMk cId="1495152177" sldId="298"/>
        </pc:sldMkLst>
        <pc:graphicFrameChg chg="modGraphic">
          <ac:chgData name="Meyer Raphael (PAR-ES)" userId="79615dfe-ed48-4e74-a40f-4f7b034c1c27" providerId="ADAL" clId="{C3A857A9-D187-4A8A-B6CF-844B098D50BB}" dt="2021-10-01T08:23:24.970" v="37" actId="20577"/>
          <ac:graphicFrameMkLst>
            <pc:docMk/>
            <pc:sldMk cId="1495152177" sldId="298"/>
            <ac:graphicFrameMk id="9" creationId="{E1369C63-C4A7-403B-A03F-B004599F910A}"/>
          </ac:graphicFrameMkLst>
        </pc:graphicFrameChg>
      </pc:sldChg>
      <pc:sldChg chg="modSp mod">
        <pc:chgData name="Meyer Raphael (PAR-ES)" userId="79615dfe-ed48-4e74-a40f-4f7b034c1c27" providerId="ADAL" clId="{C3A857A9-D187-4A8A-B6CF-844B098D50BB}" dt="2021-10-01T08:23:44.823" v="41" actId="20577"/>
        <pc:sldMkLst>
          <pc:docMk/>
          <pc:sldMk cId="3590012689" sldId="365"/>
        </pc:sldMkLst>
        <pc:graphicFrameChg chg="mod modGraphic">
          <ac:chgData name="Meyer Raphael (PAR-ES)" userId="79615dfe-ed48-4e74-a40f-4f7b034c1c27" providerId="ADAL" clId="{C3A857A9-D187-4A8A-B6CF-844B098D50BB}" dt="2021-10-01T08:23:44.823" v="41" actId="20577"/>
          <ac:graphicFrameMkLst>
            <pc:docMk/>
            <pc:sldMk cId="3590012689" sldId="365"/>
            <ac:graphicFrameMk id="9" creationId="{E1369C63-C4A7-403B-A03F-B004599F910A}"/>
          </ac:graphicFrameMkLst>
        </pc:graphicFrameChg>
      </pc:sldChg>
      <pc:sldChg chg="modSp mod">
        <pc:chgData name="Meyer Raphael (PAR-ES)" userId="79615dfe-ed48-4e74-a40f-4f7b034c1c27" providerId="ADAL" clId="{C3A857A9-D187-4A8A-B6CF-844B098D50BB}" dt="2021-10-01T08:23:54.667" v="44" actId="20577"/>
        <pc:sldMkLst>
          <pc:docMk/>
          <pc:sldMk cId="689864941" sldId="366"/>
        </pc:sldMkLst>
        <pc:graphicFrameChg chg="mod modGraphic">
          <ac:chgData name="Meyer Raphael (PAR-ES)" userId="79615dfe-ed48-4e74-a40f-4f7b034c1c27" providerId="ADAL" clId="{C3A857A9-D187-4A8A-B6CF-844B098D50BB}" dt="2021-10-01T08:23:54.667" v="44" actId="20577"/>
          <ac:graphicFrameMkLst>
            <pc:docMk/>
            <pc:sldMk cId="689864941" sldId="366"/>
            <ac:graphicFrameMk id="9" creationId="{E1369C63-C4A7-403B-A03F-B004599F910A}"/>
          </ac:graphicFrameMkLst>
        </pc:graphicFrameChg>
      </pc:sldChg>
    </pc:docChg>
  </pc:docChgLst>
  <pc:docChgLst>
    <pc:chgData name="Meyer Raphael (PAR-ES)" userId="79615dfe-ed48-4e74-a40f-4f7b034c1c27" providerId="ADAL" clId="{74A59743-142D-4CF8-870C-5D2A831C7023}"/>
    <pc:docChg chg="modSld">
      <pc:chgData name="Meyer Raphael (PAR-ES)" userId="79615dfe-ed48-4e74-a40f-4f7b034c1c27" providerId="ADAL" clId="{74A59743-142D-4CF8-870C-5D2A831C7023}" dt="2022-03-09T16:40:35.701" v="36" actId="1037"/>
      <pc:docMkLst>
        <pc:docMk/>
      </pc:docMkLst>
      <pc:sldChg chg="modSp mod">
        <pc:chgData name="Meyer Raphael (PAR-ES)" userId="79615dfe-ed48-4e74-a40f-4f7b034c1c27" providerId="ADAL" clId="{74A59743-142D-4CF8-870C-5D2A831C7023}" dt="2022-03-09T16:40:35.701" v="36" actId="1037"/>
        <pc:sldMkLst>
          <pc:docMk/>
          <pc:sldMk cId="3865012081" sldId="415"/>
        </pc:sldMkLst>
        <pc:spChg chg="mod">
          <ac:chgData name="Meyer Raphael (PAR-ES)" userId="79615dfe-ed48-4e74-a40f-4f7b034c1c27" providerId="ADAL" clId="{74A59743-142D-4CF8-870C-5D2A831C7023}" dt="2022-03-09T16:40:35.701" v="36" actId="1037"/>
          <ac:spMkLst>
            <pc:docMk/>
            <pc:sldMk cId="3865012081" sldId="415"/>
            <ac:spMk id="11" creationId="{45495507-A500-4876-A7D7-039B7559AD0C}"/>
          </ac:spMkLst>
        </pc:spChg>
      </pc:sldChg>
    </pc:docChg>
  </pc:docChgLst>
  <pc:docChgLst>
    <pc:chgData name="Meyer Raphael (PAR-ES)" userId="79615dfe-ed48-4e74-a40f-4f7b034c1c27" providerId="ADAL" clId="{92EE8BAC-19AC-48CE-A3E5-4ED76E0D1882}"/>
    <pc:docChg chg="undo custSel addSld delSld modSld sldOrd">
      <pc:chgData name="Meyer Raphael (PAR-ES)" userId="79615dfe-ed48-4e74-a40f-4f7b034c1c27" providerId="ADAL" clId="{92EE8BAC-19AC-48CE-A3E5-4ED76E0D1882}" dt="2021-10-13T12:34:09.248" v="467" actId="1037"/>
      <pc:docMkLst>
        <pc:docMk/>
      </pc:docMkLst>
      <pc:sldChg chg="ord">
        <pc:chgData name="Meyer Raphael (PAR-ES)" userId="79615dfe-ed48-4e74-a40f-4f7b034c1c27" providerId="ADAL" clId="{92EE8BAC-19AC-48CE-A3E5-4ED76E0D1882}" dt="2021-10-13T09:03:17.145" v="2"/>
        <pc:sldMkLst>
          <pc:docMk/>
          <pc:sldMk cId="3137099422" sldId="358"/>
        </pc:sldMkLst>
      </pc:sldChg>
      <pc:sldChg chg="addSp modSp mod ord">
        <pc:chgData name="Meyer Raphael (PAR-ES)" userId="79615dfe-ed48-4e74-a40f-4f7b034c1c27" providerId="ADAL" clId="{92EE8BAC-19AC-48CE-A3E5-4ED76E0D1882}" dt="2021-10-13T10:00:48.591" v="106"/>
        <pc:sldMkLst>
          <pc:docMk/>
          <pc:sldMk cId="3462026173" sldId="370"/>
        </pc:sldMkLst>
        <pc:spChg chg="mod">
          <ac:chgData name="Meyer Raphael (PAR-ES)" userId="79615dfe-ed48-4e74-a40f-4f7b034c1c27" providerId="ADAL" clId="{92EE8BAC-19AC-48CE-A3E5-4ED76E0D1882}" dt="2021-10-13T09:46:36.418" v="67" actId="1037"/>
          <ac:spMkLst>
            <pc:docMk/>
            <pc:sldMk cId="3462026173" sldId="370"/>
            <ac:spMk id="9" creationId="{42AA12ED-4579-4FE5-A07A-BC01B76928FB}"/>
          </ac:spMkLst>
        </pc:spChg>
        <pc:spChg chg="mod">
          <ac:chgData name="Meyer Raphael (PAR-ES)" userId="79615dfe-ed48-4e74-a40f-4f7b034c1c27" providerId="ADAL" clId="{92EE8BAC-19AC-48CE-A3E5-4ED76E0D1882}" dt="2021-10-13T09:46:11.568" v="32" actId="1076"/>
          <ac:spMkLst>
            <pc:docMk/>
            <pc:sldMk cId="3462026173" sldId="370"/>
            <ac:spMk id="12" creationId="{4DA2B71E-2CC2-4C38-BAAB-A71345A07B83}"/>
          </ac:spMkLst>
        </pc:spChg>
        <pc:spChg chg="mod">
          <ac:chgData name="Meyer Raphael (PAR-ES)" userId="79615dfe-ed48-4e74-a40f-4f7b034c1c27" providerId="ADAL" clId="{92EE8BAC-19AC-48CE-A3E5-4ED76E0D1882}" dt="2021-10-13T09:46:27.703" v="57" actId="1038"/>
          <ac:spMkLst>
            <pc:docMk/>
            <pc:sldMk cId="3462026173" sldId="370"/>
            <ac:spMk id="13" creationId="{B946C02A-50DE-42C7-A209-D603829BA4B1}"/>
          </ac:spMkLst>
        </pc:spChg>
        <pc:graphicFrameChg chg="mod">
          <ac:chgData name="Meyer Raphael (PAR-ES)" userId="79615dfe-ed48-4e74-a40f-4f7b034c1c27" providerId="ADAL" clId="{92EE8BAC-19AC-48CE-A3E5-4ED76E0D1882}" dt="2021-10-13T09:55:21.606" v="72" actId="1957"/>
          <ac:graphicFrameMkLst>
            <pc:docMk/>
            <pc:sldMk cId="3462026173" sldId="370"/>
            <ac:graphicFrameMk id="10" creationId="{E856299E-9B60-478F-8674-1045505692C4}"/>
          </ac:graphicFrameMkLst>
        </pc:graphicFrameChg>
        <pc:cxnChg chg="mod">
          <ac:chgData name="Meyer Raphael (PAR-ES)" userId="79615dfe-ed48-4e74-a40f-4f7b034c1c27" providerId="ADAL" clId="{92EE8BAC-19AC-48CE-A3E5-4ED76E0D1882}" dt="2021-10-13T09:46:36.418" v="67" actId="1037"/>
          <ac:cxnSpMkLst>
            <pc:docMk/>
            <pc:sldMk cId="3462026173" sldId="370"/>
            <ac:cxnSpMk id="7" creationId="{D77902D2-9169-4095-AF09-B1A9DB2A7B74}"/>
          </ac:cxnSpMkLst>
        </pc:cxnChg>
        <pc:cxnChg chg="mod">
          <ac:chgData name="Meyer Raphael (PAR-ES)" userId="79615dfe-ed48-4e74-a40f-4f7b034c1c27" providerId="ADAL" clId="{92EE8BAC-19AC-48CE-A3E5-4ED76E0D1882}" dt="2021-10-13T09:46:27.703" v="57" actId="1038"/>
          <ac:cxnSpMkLst>
            <pc:docMk/>
            <pc:sldMk cId="3462026173" sldId="370"/>
            <ac:cxnSpMk id="11" creationId="{A9B79FFE-7EB4-42F9-AF46-169C3E5C72D5}"/>
          </ac:cxnSpMkLst>
        </pc:cxnChg>
        <pc:cxnChg chg="add mod">
          <ac:chgData name="Meyer Raphael (PAR-ES)" userId="79615dfe-ed48-4e74-a40f-4f7b034c1c27" providerId="ADAL" clId="{92EE8BAC-19AC-48CE-A3E5-4ED76E0D1882}" dt="2021-10-13T10:00:48.591" v="106"/>
          <ac:cxnSpMkLst>
            <pc:docMk/>
            <pc:sldMk cId="3462026173" sldId="370"/>
            <ac:cxnSpMk id="14" creationId="{D95E97EF-7343-45BB-A526-4AD2D1ED8B53}"/>
          </ac:cxnSpMkLst>
        </pc:cxnChg>
      </pc:sldChg>
      <pc:sldChg chg="add mod ord">
        <pc:chgData name="Meyer Raphael (PAR-ES)" userId="79615dfe-ed48-4e74-a40f-4f7b034c1c27" providerId="ADAL" clId="{92EE8BAC-19AC-48CE-A3E5-4ED76E0D1882}" dt="2021-10-13T09:43:09.868" v="27"/>
        <pc:sldMkLst>
          <pc:docMk/>
          <pc:sldMk cId="1259040757" sldId="371"/>
        </pc:sldMkLst>
      </pc:sldChg>
      <pc:sldChg chg="add mod ord">
        <pc:chgData name="Meyer Raphael (PAR-ES)" userId="79615dfe-ed48-4e74-a40f-4f7b034c1c27" providerId="ADAL" clId="{92EE8BAC-19AC-48CE-A3E5-4ED76E0D1882}" dt="2021-10-13T09:43:09.868" v="27"/>
        <pc:sldMkLst>
          <pc:docMk/>
          <pc:sldMk cId="1661015866" sldId="372"/>
        </pc:sldMkLst>
      </pc:sldChg>
      <pc:sldChg chg="addSp delSp modSp add mod">
        <pc:chgData name="Meyer Raphael (PAR-ES)" userId="79615dfe-ed48-4e74-a40f-4f7b034c1c27" providerId="ADAL" clId="{92EE8BAC-19AC-48CE-A3E5-4ED76E0D1882}" dt="2021-10-13T12:34:09.248" v="467" actId="1037"/>
        <pc:sldMkLst>
          <pc:docMk/>
          <pc:sldMk cId="1537997412" sldId="373"/>
        </pc:sldMkLst>
        <pc:spChg chg="del mod">
          <ac:chgData name="Meyer Raphael (PAR-ES)" userId="79615dfe-ed48-4e74-a40f-4f7b034c1c27" providerId="ADAL" clId="{92EE8BAC-19AC-48CE-A3E5-4ED76E0D1882}" dt="2021-10-13T11:42:34.763" v="419" actId="478"/>
          <ac:spMkLst>
            <pc:docMk/>
            <pc:sldMk cId="1537997412" sldId="373"/>
            <ac:spMk id="3" creationId="{C8768AF4-4D23-49CA-95CE-2763BC39243D}"/>
          </ac:spMkLst>
        </pc:spChg>
        <pc:spChg chg="add mod">
          <ac:chgData name="Meyer Raphael (PAR-ES)" userId="79615dfe-ed48-4e74-a40f-4f7b034c1c27" providerId="ADAL" clId="{92EE8BAC-19AC-48CE-A3E5-4ED76E0D1882}" dt="2021-10-13T11:38:42.234" v="373" actId="1076"/>
          <ac:spMkLst>
            <pc:docMk/>
            <pc:sldMk cId="1537997412" sldId="373"/>
            <ac:spMk id="6" creationId="{8C570F95-0775-4F12-8DDA-DD52CE7241CC}"/>
          </ac:spMkLst>
        </pc:spChg>
        <pc:spChg chg="mod">
          <ac:chgData name="Meyer Raphael (PAR-ES)" userId="79615dfe-ed48-4e74-a40f-4f7b034c1c27" providerId="ADAL" clId="{92EE8BAC-19AC-48CE-A3E5-4ED76E0D1882}" dt="2021-10-13T12:34:09.248" v="467" actId="1037"/>
          <ac:spMkLst>
            <pc:docMk/>
            <pc:sldMk cId="1537997412" sldId="373"/>
            <ac:spMk id="9" creationId="{42AA12ED-4579-4FE5-A07A-BC01B76928FB}"/>
          </ac:spMkLst>
        </pc:spChg>
        <pc:spChg chg="mod">
          <ac:chgData name="Meyer Raphael (PAR-ES)" userId="79615dfe-ed48-4e74-a40f-4f7b034c1c27" providerId="ADAL" clId="{92EE8BAC-19AC-48CE-A3E5-4ED76E0D1882}" dt="2021-10-13T11:39:47.336" v="382" actId="1037"/>
          <ac:spMkLst>
            <pc:docMk/>
            <pc:sldMk cId="1537997412" sldId="373"/>
            <ac:spMk id="12" creationId="{4DA2B71E-2CC2-4C38-BAAB-A71345A07B83}"/>
          </ac:spMkLst>
        </pc:spChg>
        <pc:spChg chg="mod">
          <ac:chgData name="Meyer Raphael (PAR-ES)" userId="79615dfe-ed48-4e74-a40f-4f7b034c1c27" providerId="ADAL" clId="{92EE8BAC-19AC-48CE-A3E5-4ED76E0D1882}" dt="2021-10-13T12:31:58.875" v="447" actId="1038"/>
          <ac:spMkLst>
            <pc:docMk/>
            <pc:sldMk cId="1537997412" sldId="373"/>
            <ac:spMk id="13" creationId="{B946C02A-50DE-42C7-A209-D603829BA4B1}"/>
          </ac:spMkLst>
        </pc:spChg>
        <pc:spChg chg="mod">
          <ac:chgData name="Meyer Raphael (PAR-ES)" userId="79615dfe-ed48-4e74-a40f-4f7b034c1c27" providerId="ADAL" clId="{92EE8BAC-19AC-48CE-A3E5-4ED76E0D1882}" dt="2021-10-13T11:40:13.724" v="406" actId="1076"/>
          <ac:spMkLst>
            <pc:docMk/>
            <pc:sldMk cId="1537997412" sldId="373"/>
            <ac:spMk id="19" creationId="{9FB4AF3B-D5AD-4F53-ABB0-E4CE1F5D8E5E}"/>
          </ac:spMkLst>
        </pc:spChg>
        <pc:spChg chg="add mod">
          <ac:chgData name="Meyer Raphael (PAR-ES)" userId="79615dfe-ed48-4e74-a40f-4f7b034c1c27" providerId="ADAL" clId="{92EE8BAC-19AC-48CE-A3E5-4ED76E0D1882}" dt="2021-10-13T11:38:37.844" v="372" actId="14100"/>
          <ac:spMkLst>
            <pc:docMk/>
            <pc:sldMk cId="1537997412" sldId="373"/>
            <ac:spMk id="24" creationId="{FD07A55C-6879-4E52-B5A8-38679864E2FC}"/>
          </ac:spMkLst>
        </pc:spChg>
        <pc:spChg chg="add mod">
          <ac:chgData name="Meyer Raphael (PAR-ES)" userId="79615dfe-ed48-4e74-a40f-4f7b034c1c27" providerId="ADAL" clId="{92EE8BAC-19AC-48CE-A3E5-4ED76E0D1882}" dt="2021-10-13T11:42:30.740" v="418" actId="1076"/>
          <ac:spMkLst>
            <pc:docMk/>
            <pc:sldMk cId="1537997412" sldId="373"/>
            <ac:spMk id="30" creationId="{4F4C31ED-0414-44F1-B84F-EA8394C10C0D}"/>
          </ac:spMkLst>
        </pc:spChg>
        <pc:graphicFrameChg chg="mod">
          <ac:chgData name="Meyer Raphael (PAR-ES)" userId="79615dfe-ed48-4e74-a40f-4f7b034c1c27" providerId="ADAL" clId="{92EE8BAC-19AC-48CE-A3E5-4ED76E0D1882}" dt="2021-10-13T12:28:40.842" v="443" actId="14861"/>
          <ac:graphicFrameMkLst>
            <pc:docMk/>
            <pc:sldMk cId="1537997412" sldId="373"/>
            <ac:graphicFrameMk id="10" creationId="{E856299E-9B60-478F-8674-1045505692C4}"/>
          </ac:graphicFrameMkLst>
        </pc:graphicFrameChg>
        <pc:graphicFrameChg chg="add del mod">
          <ac:chgData name="Meyer Raphael (PAR-ES)" userId="79615dfe-ed48-4e74-a40f-4f7b034c1c27" providerId="ADAL" clId="{92EE8BAC-19AC-48CE-A3E5-4ED76E0D1882}" dt="2021-10-13T09:59:11.458" v="82"/>
          <ac:graphicFrameMkLst>
            <pc:docMk/>
            <pc:sldMk cId="1537997412" sldId="373"/>
            <ac:graphicFrameMk id="14" creationId="{C010D2CE-C18D-43C8-BF44-8266881F7200}"/>
          </ac:graphicFrameMkLst>
        </pc:graphicFrameChg>
        <pc:cxnChg chg="add del mod">
          <ac:chgData name="Meyer Raphael (PAR-ES)" userId="79615dfe-ed48-4e74-a40f-4f7b034c1c27" providerId="ADAL" clId="{92EE8BAC-19AC-48CE-A3E5-4ED76E0D1882}" dt="2021-10-13T11:31:20.606" v="270" actId="478"/>
          <ac:cxnSpMkLst>
            <pc:docMk/>
            <pc:sldMk cId="1537997412" sldId="373"/>
            <ac:cxnSpMk id="4" creationId="{FB3627E6-B32F-4AC4-AE77-7C757B307C49}"/>
          </ac:cxnSpMkLst>
        </pc:cxnChg>
        <pc:cxnChg chg="mod">
          <ac:chgData name="Meyer Raphael (PAR-ES)" userId="79615dfe-ed48-4e74-a40f-4f7b034c1c27" providerId="ADAL" clId="{92EE8BAC-19AC-48CE-A3E5-4ED76E0D1882}" dt="2021-10-13T12:34:09.248" v="467" actId="1037"/>
          <ac:cxnSpMkLst>
            <pc:docMk/>
            <pc:sldMk cId="1537997412" sldId="373"/>
            <ac:cxnSpMk id="7" creationId="{D77902D2-9169-4095-AF09-B1A9DB2A7B74}"/>
          </ac:cxnSpMkLst>
        </pc:cxnChg>
        <pc:cxnChg chg="mod">
          <ac:chgData name="Meyer Raphael (PAR-ES)" userId="79615dfe-ed48-4e74-a40f-4f7b034c1c27" providerId="ADAL" clId="{92EE8BAC-19AC-48CE-A3E5-4ED76E0D1882}" dt="2021-10-13T12:31:58.875" v="447" actId="1038"/>
          <ac:cxnSpMkLst>
            <pc:docMk/>
            <pc:sldMk cId="1537997412" sldId="373"/>
            <ac:cxnSpMk id="11" creationId="{A9B79FFE-7EB4-42F9-AF46-169C3E5C72D5}"/>
          </ac:cxnSpMkLst>
        </pc:cxnChg>
        <pc:cxnChg chg="add mod">
          <ac:chgData name="Meyer Raphael (PAR-ES)" userId="79615dfe-ed48-4e74-a40f-4f7b034c1c27" providerId="ADAL" clId="{92EE8BAC-19AC-48CE-A3E5-4ED76E0D1882}" dt="2021-10-13T11:34:12.585" v="309" actId="1037"/>
          <ac:cxnSpMkLst>
            <pc:docMk/>
            <pc:sldMk cId="1537997412" sldId="373"/>
            <ac:cxnSpMk id="15" creationId="{0799A6FE-48F2-42FE-8723-6D0DDE6ED073}"/>
          </ac:cxnSpMkLst>
        </pc:cxnChg>
        <pc:cxnChg chg="add mod">
          <ac:chgData name="Meyer Raphael (PAR-ES)" userId="79615dfe-ed48-4e74-a40f-4f7b034c1c27" providerId="ADAL" clId="{92EE8BAC-19AC-48CE-A3E5-4ED76E0D1882}" dt="2021-10-13T11:38:21.166" v="371" actId="1036"/>
          <ac:cxnSpMkLst>
            <pc:docMk/>
            <pc:sldMk cId="1537997412" sldId="373"/>
            <ac:cxnSpMk id="17" creationId="{ADB86D40-94DA-4EA6-A13C-F322B879613C}"/>
          </ac:cxnSpMkLst>
        </pc:cxnChg>
        <pc:cxnChg chg="add mod">
          <ac:chgData name="Meyer Raphael (PAR-ES)" userId="79615dfe-ed48-4e74-a40f-4f7b034c1c27" providerId="ADAL" clId="{92EE8BAC-19AC-48CE-A3E5-4ED76E0D1882}" dt="2021-10-13T11:37:46.107" v="319" actId="14100"/>
          <ac:cxnSpMkLst>
            <pc:docMk/>
            <pc:sldMk cId="1537997412" sldId="373"/>
            <ac:cxnSpMk id="21" creationId="{70B5456D-B5DD-4516-B6A3-B39AEE671B52}"/>
          </ac:cxnSpMkLst>
        </pc:cxnChg>
      </pc:sldChg>
      <pc:sldChg chg="modSp add del">
        <pc:chgData name="Meyer Raphael (PAR-ES)" userId="79615dfe-ed48-4e74-a40f-4f7b034c1c27" providerId="ADAL" clId="{92EE8BAC-19AC-48CE-A3E5-4ED76E0D1882}" dt="2021-10-13T10:03:11.163" v="109" actId="2696"/>
        <pc:sldMkLst>
          <pc:docMk/>
          <pc:sldMk cId="2833047153" sldId="374"/>
        </pc:sldMkLst>
        <pc:graphicFrameChg chg="mod">
          <ac:chgData name="Meyer Raphael (PAR-ES)" userId="79615dfe-ed48-4e74-a40f-4f7b034c1c27" providerId="ADAL" clId="{92EE8BAC-19AC-48CE-A3E5-4ED76E0D1882}" dt="2021-10-13T10:02:35.351" v="108" actId="1957"/>
          <ac:graphicFrameMkLst>
            <pc:docMk/>
            <pc:sldMk cId="2833047153" sldId="374"/>
            <ac:graphicFrameMk id="10" creationId="{E856299E-9B60-478F-8674-1045505692C4}"/>
          </ac:graphicFrameMkLst>
        </pc:graphicFrameChg>
      </pc:sldChg>
    </pc:docChg>
  </pc:docChgLst>
  <pc:docChgLst>
    <pc:chgData name="Meyer Raphael (PAR-ES)" userId="79615dfe-ed48-4e74-a40f-4f7b034c1c27" providerId="ADAL" clId="{7ED1063F-D2A9-43CF-91B5-C9448CFA5831}"/>
    <pc:docChg chg="modSld">
      <pc:chgData name="Meyer Raphael (PAR-ES)" userId="79615dfe-ed48-4e74-a40f-4f7b034c1c27" providerId="ADAL" clId="{7ED1063F-D2A9-43CF-91B5-C9448CFA5831}" dt="2021-11-23T10:02:31.376" v="3" actId="20577"/>
      <pc:docMkLst>
        <pc:docMk/>
      </pc:docMkLst>
      <pc:sldChg chg="modSp mod">
        <pc:chgData name="Meyer Raphael (PAR-ES)" userId="79615dfe-ed48-4e74-a40f-4f7b034c1c27" providerId="ADAL" clId="{7ED1063F-D2A9-43CF-91B5-C9448CFA5831}" dt="2021-11-23T10:02:31.376" v="3" actId="20577"/>
        <pc:sldMkLst>
          <pc:docMk/>
          <pc:sldMk cId="2641487227" sldId="271"/>
        </pc:sldMkLst>
        <pc:spChg chg="mod">
          <ac:chgData name="Meyer Raphael (PAR-ES)" userId="79615dfe-ed48-4e74-a40f-4f7b034c1c27" providerId="ADAL" clId="{7ED1063F-D2A9-43CF-91B5-C9448CFA5831}" dt="2021-11-23T10:02:31.376" v="3" actId="20577"/>
          <ac:spMkLst>
            <pc:docMk/>
            <pc:sldMk cId="2641487227" sldId="271"/>
            <ac:spMk id="10" creationId="{41B9B9AB-4B12-4760-AF37-4FABDDFAE68B}"/>
          </ac:spMkLst>
        </pc:spChg>
      </pc:sldChg>
    </pc:docChg>
  </pc:docChgLst>
  <pc:docChgLst>
    <pc:chgData name="Meyer Raphael (PAR-ES)" userId="79615dfe-ed48-4e74-a40f-4f7b034c1c27" providerId="ADAL" clId="{10982BC3-D958-4B41-9357-68E9BDD6C909}"/>
    <pc:docChg chg="delSld">
      <pc:chgData name="Meyer Raphael (PAR-ES)" userId="79615dfe-ed48-4e74-a40f-4f7b034c1c27" providerId="ADAL" clId="{10982BC3-D958-4B41-9357-68E9BDD6C909}" dt="2021-11-02T14:17:15.877" v="0" actId="47"/>
      <pc:docMkLst>
        <pc:docMk/>
      </pc:docMkLst>
      <pc:sldChg chg="del">
        <pc:chgData name="Meyer Raphael (PAR-ES)" userId="79615dfe-ed48-4e74-a40f-4f7b034c1c27" providerId="ADAL" clId="{10982BC3-D958-4B41-9357-68E9BDD6C909}" dt="2021-11-02T14:17:15.877" v="0" actId="47"/>
        <pc:sldMkLst>
          <pc:docMk/>
          <pc:sldMk cId="1199121354" sldId="417"/>
        </pc:sldMkLst>
      </pc:sldChg>
    </pc:docChg>
  </pc:docChgLst>
  <pc:docChgLst>
    <pc:chgData name="Meyer Raphael (PAR-ES)" userId="79615dfe-ed48-4e74-a40f-4f7b034c1c27" providerId="ADAL" clId="{39874381-8D5F-4C40-BD22-D0192665E6B5}"/>
    <pc:docChg chg="modSld">
      <pc:chgData name="Meyer Raphael (PAR-ES)" userId="79615dfe-ed48-4e74-a40f-4f7b034c1c27" providerId="ADAL" clId="{39874381-8D5F-4C40-BD22-D0192665E6B5}" dt="2021-10-29T08:18:00.949" v="52" actId="1037"/>
      <pc:docMkLst>
        <pc:docMk/>
      </pc:docMkLst>
      <pc:sldChg chg="modSp mod">
        <pc:chgData name="Meyer Raphael (PAR-ES)" userId="79615dfe-ed48-4e74-a40f-4f7b034c1c27" providerId="ADAL" clId="{39874381-8D5F-4C40-BD22-D0192665E6B5}" dt="2021-10-29T08:17:23.674" v="37" actId="1037"/>
        <pc:sldMkLst>
          <pc:docMk/>
          <pc:sldMk cId="2343299233" sldId="374"/>
        </pc:sldMkLst>
        <pc:spChg chg="mod">
          <ac:chgData name="Meyer Raphael (PAR-ES)" userId="79615dfe-ed48-4e74-a40f-4f7b034c1c27" providerId="ADAL" clId="{39874381-8D5F-4C40-BD22-D0192665E6B5}" dt="2021-10-29T08:17:23.674" v="37" actId="1037"/>
          <ac:spMkLst>
            <pc:docMk/>
            <pc:sldMk cId="2343299233" sldId="374"/>
            <ac:spMk id="12" creationId="{970D2C07-63A2-4265-B006-56F685FE80A5}"/>
          </ac:spMkLst>
        </pc:spChg>
        <pc:spChg chg="mod">
          <ac:chgData name="Meyer Raphael (PAR-ES)" userId="79615dfe-ed48-4e74-a40f-4f7b034c1c27" providerId="ADAL" clId="{39874381-8D5F-4C40-BD22-D0192665E6B5}" dt="2021-10-29T08:17:23.674" v="37" actId="1037"/>
          <ac:spMkLst>
            <pc:docMk/>
            <pc:sldMk cId="2343299233" sldId="374"/>
            <ac:spMk id="13" creationId="{93412675-62AA-41D8-997C-4E877ED953A8}"/>
          </ac:spMkLst>
        </pc:spChg>
        <pc:graphicFrameChg chg="modGraphic">
          <ac:chgData name="Meyer Raphael (PAR-ES)" userId="79615dfe-ed48-4e74-a40f-4f7b034c1c27" providerId="ADAL" clId="{39874381-8D5F-4C40-BD22-D0192665E6B5}" dt="2021-10-29T08:13:21.218" v="11" actId="20577"/>
          <ac:graphicFrameMkLst>
            <pc:docMk/>
            <pc:sldMk cId="2343299233" sldId="374"/>
            <ac:graphicFrameMk id="9" creationId="{E1369C63-C4A7-403B-A03F-B004599F910A}"/>
          </ac:graphicFrameMkLst>
        </pc:graphicFrameChg>
        <pc:cxnChg chg="mod">
          <ac:chgData name="Meyer Raphael (PAR-ES)" userId="79615dfe-ed48-4e74-a40f-4f7b034c1c27" providerId="ADAL" clId="{39874381-8D5F-4C40-BD22-D0192665E6B5}" dt="2021-10-29T08:17:23.674" v="37" actId="1037"/>
          <ac:cxnSpMkLst>
            <pc:docMk/>
            <pc:sldMk cId="2343299233" sldId="374"/>
            <ac:cxnSpMk id="8" creationId="{6F3EB9D3-E612-42D9-859B-1905BD876C26}"/>
          </ac:cxnSpMkLst>
        </pc:cxnChg>
      </pc:sldChg>
      <pc:sldChg chg="modSp mod">
        <pc:chgData name="Meyer Raphael (PAR-ES)" userId="79615dfe-ed48-4e74-a40f-4f7b034c1c27" providerId="ADAL" clId="{39874381-8D5F-4C40-BD22-D0192665E6B5}" dt="2021-10-29T08:17:45.301" v="45" actId="1038"/>
        <pc:sldMkLst>
          <pc:docMk/>
          <pc:sldMk cId="3759573184" sldId="375"/>
        </pc:sldMkLst>
        <pc:spChg chg="mod">
          <ac:chgData name="Meyer Raphael (PAR-ES)" userId="79615dfe-ed48-4e74-a40f-4f7b034c1c27" providerId="ADAL" clId="{39874381-8D5F-4C40-BD22-D0192665E6B5}" dt="2021-10-29T08:17:45.301" v="45" actId="1038"/>
          <ac:spMkLst>
            <pc:docMk/>
            <pc:sldMk cId="3759573184" sldId="375"/>
            <ac:spMk id="12" creationId="{970D2C07-63A2-4265-B006-56F685FE80A5}"/>
          </ac:spMkLst>
        </pc:spChg>
        <pc:spChg chg="mod">
          <ac:chgData name="Meyer Raphael (PAR-ES)" userId="79615dfe-ed48-4e74-a40f-4f7b034c1c27" providerId="ADAL" clId="{39874381-8D5F-4C40-BD22-D0192665E6B5}" dt="2021-10-29T08:17:45.301" v="45" actId="1038"/>
          <ac:spMkLst>
            <pc:docMk/>
            <pc:sldMk cId="3759573184" sldId="375"/>
            <ac:spMk id="13" creationId="{93412675-62AA-41D8-997C-4E877ED953A8}"/>
          </ac:spMkLst>
        </pc:spChg>
        <pc:graphicFrameChg chg="mod modGraphic">
          <ac:chgData name="Meyer Raphael (PAR-ES)" userId="79615dfe-ed48-4e74-a40f-4f7b034c1c27" providerId="ADAL" clId="{39874381-8D5F-4C40-BD22-D0192665E6B5}" dt="2021-10-29T08:13:46.792" v="17" actId="20577"/>
          <ac:graphicFrameMkLst>
            <pc:docMk/>
            <pc:sldMk cId="3759573184" sldId="375"/>
            <ac:graphicFrameMk id="11" creationId="{622F4C5D-EB92-4061-B40F-47BBCBF5D8BD}"/>
          </ac:graphicFrameMkLst>
        </pc:graphicFrameChg>
        <pc:cxnChg chg="mod">
          <ac:chgData name="Meyer Raphael (PAR-ES)" userId="79615dfe-ed48-4e74-a40f-4f7b034c1c27" providerId="ADAL" clId="{39874381-8D5F-4C40-BD22-D0192665E6B5}" dt="2021-10-29T08:17:45.301" v="45" actId="1038"/>
          <ac:cxnSpMkLst>
            <pc:docMk/>
            <pc:sldMk cId="3759573184" sldId="375"/>
            <ac:cxnSpMk id="8" creationId="{6F3EB9D3-E612-42D9-859B-1905BD876C26}"/>
          </ac:cxnSpMkLst>
        </pc:cxnChg>
      </pc:sldChg>
      <pc:sldChg chg="modSp mod">
        <pc:chgData name="Meyer Raphael (PAR-ES)" userId="79615dfe-ed48-4e74-a40f-4f7b034c1c27" providerId="ADAL" clId="{39874381-8D5F-4C40-BD22-D0192665E6B5}" dt="2021-10-29T08:18:00.949" v="52" actId="1037"/>
        <pc:sldMkLst>
          <pc:docMk/>
          <pc:sldMk cId="3027727826" sldId="376"/>
        </pc:sldMkLst>
        <pc:spChg chg="mod">
          <ac:chgData name="Meyer Raphael (PAR-ES)" userId="79615dfe-ed48-4e74-a40f-4f7b034c1c27" providerId="ADAL" clId="{39874381-8D5F-4C40-BD22-D0192665E6B5}" dt="2021-10-29T08:18:00.949" v="52" actId="1037"/>
          <ac:spMkLst>
            <pc:docMk/>
            <pc:sldMk cId="3027727826" sldId="376"/>
            <ac:spMk id="12" creationId="{970D2C07-63A2-4265-B006-56F685FE80A5}"/>
          </ac:spMkLst>
        </pc:spChg>
        <pc:spChg chg="mod">
          <ac:chgData name="Meyer Raphael (PAR-ES)" userId="79615dfe-ed48-4e74-a40f-4f7b034c1c27" providerId="ADAL" clId="{39874381-8D5F-4C40-BD22-D0192665E6B5}" dt="2021-10-29T08:18:00.949" v="52" actId="1037"/>
          <ac:spMkLst>
            <pc:docMk/>
            <pc:sldMk cId="3027727826" sldId="376"/>
            <ac:spMk id="13" creationId="{93412675-62AA-41D8-997C-4E877ED953A8}"/>
          </ac:spMkLst>
        </pc:spChg>
        <pc:graphicFrameChg chg="mod modGraphic">
          <ac:chgData name="Meyer Raphael (PAR-ES)" userId="79615dfe-ed48-4e74-a40f-4f7b034c1c27" providerId="ADAL" clId="{39874381-8D5F-4C40-BD22-D0192665E6B5}" dt="2021-10-29T08:13:41.506" v="15" actId="20577"/>
          <ac:graphicFrameMkLst>
            <pc:docMk/>
            <pc:sldMk cId="3027727826" sldId="376"/>
            <ac:graphicFrameMk id="9" creationId="{E1369C63-C4A7-403B-A03F-B004599F910A}"/>
          </ac:graphicFrameMkLst>
        </pc:graphicFrameChg>
        <pc:cxnChg chg="mod">
          <ac:chgData name="Meyer Raphael (PAR-ES)" userId="79615dfe-ed48-4e74-a40f-4f7b034c1c27" providerId="ADAL" clId="{39874381-8D5F-4C40-BD22-D0192665E6B5}" dt="2021-10-29T08:18:00.949" v="52" actId="1037"/>
          <ac:cxnSpMkLst>
            <pc:docMk/>
            <pc:sldMk cId="3027727826" sldId="376"/>
            <ac:cxnSpMk id="8" creationId="{6F3EB9D3-E612-42D9-859B-1905BD876C26}"/>
          </ac:cxnSpMkLst>
        </pc:cxnChg>
      </pc:sldChg>
    </pc:docChg>
  </pc:docChgLst>
  <pc:docChgLst>
    <pc:chgData name="Meyer Raphael (PAR-ES)" userId="79615dfe-ed48-4e74-a40f-4f7b034c1c27" providerId="ADAL" clId="{DE7C88A0-74DE-46DA-9412-192AAB9D7595}"/>
    <pc:docChg chg="undo custSel delSld modSld">
      <pc:chgData name="Meyer Raphael (PAR-ES)" userId="79615dfe-ed48-4e74-a40f-4f7b034c1c27" providerId="ADAL" clId="{DE7C88A0-74DE-46DA-9412-192AAB9D7595}" dt="2021-11-08T11:21:13.895" v="201" actId="1035"/>
      <pc:docMkLst>
        <pc:docMk/>
      </pc:docMkLst>
      <pc:sldChg chg="modSp mod">
        <pc:chgData name="Meyer Raphael (PAR-ES)" userId="79615dfe-ed48-4e74-a40f-4f7b034c1c27" providerId="ADAL" clId="{DE7C88A0-74DE-46DA-9412-192AAB9D7595}" dt="2021-11-08T11:05:51.260" v="10" actId="6549"/>
        <pc:sldMkLst>
          <pc:docMk/>
          <pc:sldMk cId="3808035539" sldId="270"/>
        </pc:sldMkLst>
        <pc:spChg chg="mod">
          <ac:chgData name="Meyer Raphael (PAR-ES)" userId="79615dfe-ed48-4e74-a40f-4f7b034c1c27" providerId="ADAL" clId="{DE7C88A0-74DE-46DA-9412-192AAB9D7595}" dt="2021-11-08T11:05:31.894" v="8"/>
          <ac:spMkLst>
            <pc:docMk/>
            <pc:sldMk cId="3808035539" sldId="270"/>
            <ac:spMk id="2" creationId="{00000000-0000-0000-0000-000000000000}"/>
          </ac:spMkLst>
        </pc:spChg>
        <pc:spChg chg="mod">
          <ac:chgData name="Meyer Raphael (PAR-ES)" userId="79615dfe-ed48-4e74-a40f-4f7b034c1c27" providerId="ADAL" clId="{DE7C88A0-74DE-46DA-9412-192AAB9D7595}" dt="2021-11-08T11:05:51.260" v="10" actId="6549"/>
          <ac:spMkLst>
            <pc:docMk/>
            <pc:sldMk cId="3808035539" sldId="270"/>
            <ac:spMk id="6" creationId="{0148E78D-7FBB-46BC-A7E3-0EFE6D9E4679}"/>
          </ac:spMkLst>
        </pc:spChg>
      </pc:sldChg>
      <pc:sldChg chg="modSp mod">
        <pc:chgData name="Meyer Raphael (PAR-ES)" userId="79615dfe-ed48-4e74-a40f-4f7b034c1c27" providerId="ADAL" clId="{DE7C88A0-74DE-46DA-9412-192AAB9D7595}" dt="2021-11-08T11:10:34.123" v="44" actId="404"/>
        <pc:sldMkLst>
          <pc:docMk/>
          <pc:sldMk cId="3677740869" sldId="271"/>
        </pc:sldMkLst>
        <pc:spChg chg="mod">
          <ac:chgData name="Meyer Raphael (PAR-ES)" userId="79615dfe-ed48-4e74-a40f-4f7b034c1c27" providerId="ADAL" clId="{DE7C88A0-74DE-46DA-9412-192AAB9D7595}" dt="2021-11-08T11:05:40.478" v="9"/>
          <ac:spMkLst>
            <pc:docMk/>
            <pc:sldMk cId="3677740869" sldId="271"/>
            <ac:spMk id="2" creationId="{00000000-0000-0000-0000-000000000000}"/>
          </ac:spMkLst>
        </pc:spChg>
        <pc:spChg chg="mod">
          <ac:chgData name="Meyer Raphael (PAR-ES)" userId="79615dfe-ed48-4e74-a40f-4f7b034c1c27" providerId="ADAL" clId="{DE7C88A0-74DE-46DA-9412-192AAB9D7595}" dt="2021-11-08T11:07:35.668" v="42" actId="207"/>
          <ac:spMkLst>
            <pc:docMk/>
            <pc:sldMk cId="3677740869" sldId="271"/>
            <ac:spMk id="3" creationId="{00000000-0000-0000-0000-000000000000}"/>
          </ac:spMkLst>
        </pc:spChg>
        <pc:spChg chg="mod">
          <ac:chgData name="Meyer Raphael (PAR-ES)" userId="79615dfe-ed48-4e74-a40f-4f7b034c1c27" providerId="ADAL" clId="{DE7C88A0-74DE-46DA-9412-192AAB9D7595}" dt="2021-11-08T11:06:39.910" v="41" actId="1036"/>
          <ac:spMkLst>
            <pc:docMk/>
            <pc:sldMk cId="3677740869" sldId="271"/>
            <ac:spMk id="6" creationId="{43DF758D-1D72-4940-A1AE-B914B7A641D5}"/>
          </ac:spMkLst>
        </pc:spChg>
        <pc:spChg chg="mod">
          <ac:chgData name="Meyer Raphael (PAR-ES)" userId="79615dfe-ed48-4e74-a40f-4f7b034c1c27" providerId="ADAL" clId="{DE7C88A0-74DE-46DA-9412-192AAB9D7595}" dt="2021-11-08T11:03:43.200" v="5" actId="6549"/>
          <ac:spMkLst>
            <pc:docMk/>
            <pc:sldMk cId="3677740869" sldId="271"/>
            <ac:spMk id="7" creationId="{F89A807E-3A97-42E9-81E0-CE2025105F4C}"/>
          </ac:spMkLst>
        </pc:spChg>
        <pc:graphicFrameChg chg="mod">
          <ac:chgData name="Meyer Raphael (PAR-ES)" userId="79615dfe-ed48-4e74-a40f-4f7b034c1c27" providerId="ADAL" clId="{DE7C88A0-74DE-46DA-9412-192AAB9D7595}" dt="2021-11-08T11:10:34.123" v="44" actId="404"/>
          <ac:graphicFrameMkLst>
            <pc:docMk/>
            <pc:sldMk cId="3677740869" sldId="271"/>
            <ac:graphicFrameMk id="9" creationId="{00000000-0000-0000-0000-000000000000}"/>
          </ac:graphicFrameMkLst>
        </pc:graphicFrameChg>
      </pc:sldChg>
      <pc:sldChg chg="modSp mod">
        <pc:chgData name="Meyer Raphael (PAR-ES)" userId="79615dfe-ed48-4e74-a40f-4f7b034c1c27" providerId="ADAL" clId="{DE7C88A0-74DE-46DA-9412-192AAB9D7595}" dt="2021-11-08T11:17:15.274" v="119" actId="207"/>
        <pc:sldMkLst>
          <pc:docMk/>
          <pc:sldMk cId="1963209825" sldId="272"/>
        </pc:sldMkLst>
        <pc:spChg chg="mod">
          <ac:chgData name="Meyer Raphael (PAR-ES)" userId="79615dfe-ed48-4e74-a40f-4f7b034c1c27" providerId="ADAL" clId="{DE7C88A0-74DE-46DA-9412-192AAB9D7595}" dt="2021-11-08T11:15:24.270" v="92" actId="20577"/>
          <ac:spMkLst>
            <pc:docMk/>
            <pc:sldMk cId="1963209825" sldId="272"/>
            <ac:spMk id="2" creationId="{00000000-0000-0000-0000-000000000000}"/>
          </ac:spMkLst>
        </pc:spChg>
        <pc:spChg chg="mod">
          <ac:chgData name="Meyer Raphael (PAR-ES)" userId="79615dfe-ed48-4e74-a40f-4f7b034c1c27" providerId="ADAL" clId="{DE7C88A0-74DE-46DA-9412-192AAB9D7595}" dt="2021-11-08T11:17:15.274" v="119" actId="207"/>
          <ac:spMkLst>
            <pc:docMk/>
            <pc:sldMk cId="1963209825" sldId="272"/>
            <ac:spMk id="3" creationId="{00000000-0000-0000-0000-000000000000}"/>
          </ac:spMkLst>
        </pc:spChg>
        <pc:spChg chg="mod">
          <ac:chgData name="Meyer Raphael (PAR-ES)" userId="79615dfe-ed48-4e74-a40f-4f7b034c1c27" providerId="ADAL" clId="{DE7C88A0-74DE-46DA-9412-192AAB9D7595}" dt="2021-11-08T11:16:04.828" v="116" actId="1036"/>
          <ac:spMkLst>
            <pc:docMk/>
            <pc:sldMk cId="1963209825" sldId="272"/>
            <ac:spMk id="6" creationId="{CF6DBC6D-330A-4C20-9AEB-024C54AD5363}"/>
          </ac:spMkLst>
        </pc:spChg>
        <pc:spChg chg="mod">
          <ac:chgData name="Meyer Raphael (PAR-ES)" userId="79615dfe-ed48-4e74-a40f-4f7b034c1c27" providerId="ADAL" clId="{DE7C88A0-74DE-46DA-9412-192AAB9D7595}" dt="2021-11-08T11:15:31.902" v="93" actId="20577"/>
          <ac:spMkLst>
            <pc:docMk/>
            <pc:sldMk cId="1963209825" sldId="272"/>
            <ac:spMk id="7" creationId="{78F08A34-A86E-4774-9EC1-635781A0CFBC}"/>
          </ac:spMkLst>
        </pc:spChg>
        <pc:graphicFrameChg chg="mod">
          <ac:chgData name="Meyer Raphael (PAR-ES)" userId="79615dfe-ed48-4e74-a40f-4f7b034c1c27" providerId="ADAL" clId="{DE7C88A0-74DE-46DA-9412-192AAB9D7595}" dt="2021-11-08T11:16:24.678" v="118" actId="404"/>
          <ac:graphicFrameMkLst>
            <pc:docMk/>
            <pc:sldMk cId="1963209825" sldId="272"/>
            <ac:graphicFrameMk id="9" creationId="{00000000-0000-0000-0000-000000000000}"/>
          </ac:graphicFrameMkLst>
        </pc:graphicFrameChg>
      </pc:sldChg>
      <pc:sldChg chg="modSp mod">
        <pc:chgData name="Meyer Raphael (PAR-ES)" userId="79615dfe-ed48-4e74-a40f-4f7b034c1c27" providerId="ADAL" clId="{DE7C88A0-74DE-46DA-9412-192AAB9D7595}" dt="2021-11-08T11:21:13.895" v="201" actId="1035"/>
        <pc:sldMkLst>
          <pc:docMk/>
          <pc:sldMk cId="1065586608" sldId="273"/>
        </pc:sldMkLst>
        <pc:spChg chg="mod">
          <ac:chgData name="Meyer Raphael (PAR-ES)" userId="79615dfe-ed48-4e74-a40f-4f7b034c1c27" providerId="ADAL" clId="{DE7C88A0-74DE-46DA-9412-192AAB9D7595}" dt="2021-11-08T11:20:11.550" v="169" actId="20577"/>
          <ac:spMkLst>
            <pc:docMk/>
            <pc:sldMk cId="1065586608" sldId="273"/>
            <ac:spMk id="2" creationId="{00000000-0000-0000-0000-000000000000}"/>
          </ac:spMkLst>
        </pc:spChg>
        <pc:spChg chg="mod">
          <ac:chgData name="Meyer Raphael (PAR-ES)" userId="79615dfe-ed48-4e74-a40f-4f7b034c1c27" providerId="ADAL" clId="{DE7C88A0-74DE-46DA-9412-192AAB9D7595}" dt="2021-11-08T11:17:28.932" v="120" actId="207"/>
          <ac:spMkLst>
            <pc:docMk/>
            <pc:sldMk cId="1065586608" sldId="273"/>
            <ac:spMk id="3" creationId="{00000000-0000-0000-0000-000000000000}"/>
          </ac:spMkLst>
        </pc:spChg>
        <pc:spChg chg="mod">
          <ac:chgData name="Meyer Raphael (PAR-ES)" userId="79615dfe-ed48-4e74-a40f-4f7b034c1c27" providerId="ADAL" clId="{DE7C88A0-74DE-46DA-9412-192AAB9D7595}" dt="2021-11-08T11:21:13.895" v="201" actId="1035"/>
          <ac:spMkLst>
            <pc:docMk/>
            <pc:sldMk cId="1065586608" sldId="273"/>
            <ac:spMk id="6" creationId="{E0F162F0-F370-43B9-9CC4-2142C851FD99}"/>
          </ac:spMkLst>
        </pc:spChg>
        <pc:spChg chg="mod">
          <ac:chgData name="Meyer Raphael (PAR-ES)" userId="79615dfe-ed48-4e74-a40f-4f7b034c1c27" providerId="ADAL" clId="{DE7C88A0-74DE-46DA-9412-192AAB9D7595}" dt="2021-11-08T11:20:21.088" v="170" actId="6549"/>
          <ac:spMkLst>
            <pc:docMk/>
            <pc:sldMk cId="1065586608" sldId="273"/>
            <ac:spMk id="7" creationId="{79CA5D86-E4EE-4B06-939E-8A7198BAD8B9}"/>
          </ac:spMkLst>
        </pc:spChg>
        <pc:graphicFrameChg chg="mod">
          <ac:chgData name="Meyer Raphael (PAR-ES)" userId="79615dfe-ed48-4e74-a40f-4f7b034c1c27" providerId="ADAL" clId="{DE7C88A0-74DE-46DA-9412-192AAB9D7595}" dt="2021-11-08T11:20:57.540" v="174" actId="404"/>
          <ac:graphicFrameMkLst>
            <pc:docMk/>
            <pc:sldMk cId="1065586608" sldId="273"/>
            <ac:graphicFrameMk id="9" creationId="{00000000-0000-0000-0000-000000000000}"/>
          </ac:graphicFrameMkLst>
        </pc:graphicFrameChg>
      </pc:sldChg>
      <pc:sldChg chg="del">
        <pc:chgData name="Meyer Raphael (PAR-ES)" userId="79615dfe-ed48-4e74-a40f-4f7b034c1c27" providerId="ADAL" clId="{DE7C88A0-74DE-46DA-9412-192AAB9D7595}" dt="2021-11-08T10:59:24.534" v="0" actId="2696"/>
        <pc:sldMkLst>
          <pc:docMk/>
          <pc:sldMk cId="2540367841" sldId="274"/>
        </pc:sldMkLst>
      </pc:sldChg>
    </pc:docChg>
  </pc:docChgLst>
  <pc:docChgLst>
    <pc:chgData name="Weigel Stefan (PAR-ES)" userId="fd3b2067-2981-4ad8-bf3a-d2e1004e4fa8" providerId="ADAL" clId="{8D0D3EEF-10CC-45C9-8CA5-ADC15764149F}"/>
    <pc:docChg chg="modSld">
      <pc:chgData name="Weigel Stefan (PAR-ES)" userId="fd3b2067-2981-4ad8-bf3a-d2e1004e4fa8" providerId="ADAL" clId="{8D0D3EEF-10CC-45C9-8CA5-ADC15764149F}" dt="2023-03-08T11:02:44.674" v="17" actId="27918"/>
      <pc:docMkLst>
        <pc:docMk/>
      </pc:docMkLst>
      <pc:sldChg chg="mod">
        <pc:chgData name="Weigel Stefan (PAR-ES)" userId="fd3b2067-2981-4ad8-bf3a-d2e1004e4fa8" providerId="ADAL" clId="{8D0D3EEF-10CC-45C9-8CA5-ADC15764149F}" dt="2023-03-08T11:02:44.674" v="17" actId="27918"/>
        <pc:sldMkLst>
          <pc:docMk/>
          <pc:sldMk cId="3865012081" sldId="415"/>
        </pc:sldMkLst>
      </pc:sldChg>
    </pc:docChg>
  </pc:docChgLst>
  <pc:docChgLst>
    <pc:chgData name="Weigel Stefan (PAR-ES)" userId="fd3b2067-2981-4ad8-bf3a-d2e1004e4fa8" providerId="ADAL" clId="{810092A7-32AC-41E8-9C31-9700D54B766C}"/>
    <pc:docChg chg="modSld">
      <pc:chgData name="Weigel Stefan (PAR-ES)" userId="fd3b2067-2981-4ad8-bf3a-d2e1004e4fa8" providerId="ADAL" clId="{810092A7-32AC-41E8-9C31-9700D54B766C}" dt="2021-09-03T09:16:09.993" v="613" actId="1038"/>
      <pc:docMkLst>
        <pc:docMk/>
      </pc:docMkLst>
      <pc:sldChg chg="modSp mod">
        <pc:chgData name="Weigel Stefan (PAR-ES)" userId="fd3b2067-2981-4ad8-bf3a-d2e1004e4fa8" providerId="ADAL" clId="{810092A7-32AC-41E8-9C31-9700D54B766C}" dt="2021-09-03T09:13:19.810" v="559" actId="1038"/>
        <pc:sldMkLst>
          <pc:docMk/>
          <pc:sldMk cId="1495152177" sldId="298"/>
        </pc:sldMkLst>
        <pc:spChg chg="mod">
          <ac:chgData name="Weigel Stefan (PAR-ES)" userId="fd3b2067-2981-4ad8-bf3a-d2e1004e4fa8" providerId="ADAL" clId="{810092A7-32AC-41E8-9C31-9700D54B766C}" dt="2021-09-03T09:13:19.810" v="559" actId="1038"/>
          <ac:spMkLst>
            <pc:docMk/>
            <pc:sldMk cId="1495152177" sldId="298"/>
            <ac:spMk id="12" creationId="{970D2C07-63A2-4265-B006-56F685FE80A5}"/>
          </ac:spMkLst>
        </pc:spChg>
        <pc:spChg chg="mod">
          <ac:chgData name="Weigel Stefan (PAR-ES)" userId="fd3b2067-2981-4ad8-bf3a-d2e1004e4fa8" providerId="ADAL" clId="{810092A7-32AC-41E8-9C31-9700D54B766C}" dt="2021-09-03T09:13:19.810" v="559" actId="1038"/>
          <ac:spMkLst>
            <pc:docMk/>
            <pc:sldMk cId="1495152177" sldId="298"/>
            <ac:spMk id="13" creationId="{93412675-62AA-41D8-997C-4E877ED953A8}"/>
          </ac:spMkLst>
        </pc:spChg>
        <pc:graphicFrameChg chg="mod modGraphic">
          <ac:chgData name="Weigel Stefan (PAR-ES)" userId="fd3b2067-2981-4ad8-bf3a-d2e1004e4fa8" providerId="ADAL" clId="{810092A7-32AC-41E8-9C31-9700D54B766C}" dt="2021-09-03T09:10:15.777" v="531" actId="20577"/>
          <ac:graphicFrameMkLst>
            <pc:docMk/>
            <pc:sldMk cId="1495152177" sldId="298"/>
            <ac:graphicFrameMk id="9" creationId="{E1369C63-C4A7-403B-A03F-B004599F910A}"/>
          </ac:graphicFrameMkLst>
        </pc:graphicFrameChg>
        <pc:cxnChg chg="mod">
          <ac:chgData name="Weigel Stefan (PAR-ES)" userId="fd3b2067-2981-4ad8-bf3a-d2e1004e4fa8" providerId="ADAL" clId="{810092A7-32AC-41E8-9C31-9700D54B766C}" dt="2021-09-03T09:13:19.810" v="559" actId="1038"/>
          <ac:cxnSpMkLst>
            <pc:docMk/>
            <pc:sldMk cId="1495152177" sldId="298"/>
            <ac:cxnSpMk id="8" creationId="{6F3EB9D3-E612-42D9-859B-1905BD876C26}"/>
          </ac:cxnSpMkLst>
        </pc:cxnChg>
      </pc:sldChg>
      <pc:sldChg chg="modSp mod">
        <pc:chgData name="Weigel Stefan (PAR-ES)" userId="fd3b2067-2981-4ad8-bf3a-d2e1004e4fa8" providerId="ADAL" clId="{810092A7-32AC-41E8-9C31-9700D54B766C}" dt="2021-09-03T09:14:42.160" v="585" actId="1038"/>
        <pc:sldMkLst>
          <pc:docMk/>
          <pc:sldMk cId="3590012689" sldId="365"/>
        </pc:sldMkLst>
        <pc:spChg chg="mod">
          <ac:chgData name="Weigel Stefan (PAR-ES)" userId="fd3b2067-2981-4ad8-bf3a-d2e1004e4fa8" providerId="ADAL" clId="{810092A7-32AC-41E8-9C31-9700D54B766C}" dt="2021-09-03T09:14:42.160" v="585" actId="1038"/>
          <ac:spMkLst>
            <pc:docMk/>
            <pc:sldMk cId="3590012689" sldId="365"/>
            <ac:spMk id="12" creationId="{970D2C07-63A2-4265-B006-56F685FE80A5}"/>
          </ac:spMkLst>
        </pc:spChg>
        <pc:spChg chg="mod">
          <ac:chgData name="Weigel Stefan (PAR-ES)" userId="fd3b2067-2981-4ad8-bf3a-d2e1004e4fa8" providerId="ADAL" clId="{810092A7-32AC-41E8-9C31-9700D54B766C}" dt="2021-09-03T09:14:42.160" v="585" actId="1038"/>
          <ac:spMkLst>
            <pc:docMk/>
            <pc:sldMk cId="3590012689" sldId="365"/>
            <ac:spMk id="13" creationId="{93412675-62AA-41D8-997C-4E877ED953A8}"/>
          </ac:spMkLst>
        </pc:spChg>
        <pc:graphicFrameChg chg="mod modGraphic">
          <ac:chgData name="Weigel Stefan (PAR-ES)" userId="fd3b2067-2981-4ad8-bf3a-d2e1004e4fa8" providerId="ADAL" clId="{810092A7-32AC-41E8-9C31-9700D54B766C}" dt="2021-09-03T09:10:26.410" v="532"/>
          <ac:graphicFrameMkLst>
            <pc:docMk/>
            <pc:sldMk cId="3590012689" sldId="365"/>
            <ac:graphicFrameMk id="9" creationId="{E1369C63-C4A7-403B-A03F-B004599F910A}"/>
          </ac:graphicFrameMkLst>
        </pc:graphicFrameChg>
        <pc:cxnChg chg="mod">
          <ac:chgData name="Weigel Stefan (PAR-ES)" userId="fd3b2067-2981-4ad8-bf3a-d2e1004e4fa8" providerId="ADAL" clId="{810092A7-32AC-41E8-9C31-9700D54B766C}" dt="2021-09-03T09:14:42.160" v="585" actId="1038"/>
          <ac:cxnSpMkLst>
            <pc:docMk/>
            <pc:sldMk cId="3590012689" sldId="365"/>
            <ac:cxnSpMk id="8" creationId="{6F3EB9D3-E612-42D9-859B-1905BD876C26}"/>
          </ac:cxnSpMkLst>
        </pc:cxnChg>
      </pc:sldChg>
      <pc:sldChg chg="modSp mod">
        <pc:chgData name="Weigel Stefan (PAR-ES)" userId="fd3b2067-2981-4ad8-bf3a-d2e1004e4fa8" providerId="ADAL" clId="{810092A7-32AC-41E8-9C31-9700D54B766C}" dt="2021-09-03T09:16:09.993" v="613" actId="1038"/>
        <pc:sldMkLst>
          <pc:docMk/>
          <pc:sldMk cId="689864941" sldId="366"/>
        </pc:sldMkLst>
        <pc:spChg chg="mod">
          <ac:chgData name="Weigel Stefan (PAR-ES)" userId="fd3b2067-2981-4ad8-bf3a-d2e1004e4fa8" providerId="ADAL" clId="{810092A7-32AC-41E8-9C31-9700D54B766C}" dt="2021-09-03T09:16:09.993" v="613" actId="1038"/>
          <ac:spMkLst>
            <pc:docMk/>
            <pc:sldMk cId="689864941" sldId="366"/>
            <ac:spMk id="12" creationId="{970D2C07-63A2-4265-B006-56F685FE80A5}"/>
          </ac:spMkLst>
        </pc:spChg>
        <pc:spChg chg="mod">
          <ac:chgData name="Weigel Stefan (PAR-ES)" userId="fd3b2067-2981-4ad8-bf3a-d2e1004e4fa8" providerId="ADAL" clId="{810092A7-32AC-41E8-9C31-9700D54B766C}" dt="2021-09-03T09:16:09.993" v="613" actId="1038"/>
          <ac:spMkLst>
            <pc:docMk/>
            <pc:sldMk cId="689864941" sldId="366"/>
            <ac:spMk id="13" creationId="{93412675-62AA-41D8-997C-4E877ED953A8}"/>
          </ac:spMkLst>
        </pc:spChg>
        <pc:graphicFrameChg chg="mod modGraphic">
          <ac:chgData name="Weigel Stefan (PAR-ES)" userId="fd3b2067-2981-4ad8-bf3a-d2e1004e4fa8" providerId="ADAL" clId="{810092A7-32AC-41E8-9C31-9700D54B766C}" dt="2021-09-03T09:10:31.293" v="533"/>
          <ac:graphicFrameMkLst>
            <pc:docMk/>
            <pc:sldMk cId="689864941" sldId="366"/>
            <ac:graphicFrameMk id="9" creationId="{E1369C63-C4A7-403B-A03F-B004599F910A}"/>
          </ac:graphicFrameMkLst>
        </pc:graphicFrameChg>
        <pc:cxnChg chg="mod">
          <ac:chgData name="Weigel Stefan (PAR-ES)" userId="fd3b2067-2981-4ad8-bf3a-d2e1004e4fa8" providerId="ADAL" clId="{810092A7-32AC-41E8-9C31-9700D54B766C}" dt="2021-09-03T09:16:09.993" v="613" actId="1038"/>
          <ac:cxnSpMkLst>
            <pc:docMk/>
            <pc:sldMk cId="689864941" sldId="366"/>
            <ac:cxnSpMk id="8" creationId="{6F3EB9D3-E612-42D9-859B-1905BD876C26}"/>
          </ac:cxnSpMkLst>
        </pc:cxnChg>
      </pc:sldChg>
    </pc:docChg>
  </pc:docChgLst>
  <pc:docChgLst>
    <pc:chgData name="Meyer Raphael (PAR-ES)" userId="79615dfe-ed48-4e74-a40f-4f7b034c1c27" providerId="ADAL" clId="{BBB1A706-ED97-4FE3-A763-5C40A5C5E6DA}"/>
    <pc:docChg chg="custSel addSld delSld modSld sldOrd">
      <pc:chgData name="Meyer Raphael (PAR-ES)" userId="79615dfe-ed48-4e74-a40f-4f7b034c1c27" providerId="ADAL" clId="{BBB1A706-ED97-4FE3-A763-5C40A5C5E6DA}" dt="2021-04-01T06:53:05.185" v="95" actId="27918"/>
      <pc:docMkLst>
        <pc:docMk/>
      </pc:docMkLst>
      <pc:sldChg chg="modSp mod">
        <pc:chgData name="Meyer Raphael (PAR-ES)" userId="79615dfe-ed48-4e74-a40f-4f7b034c1c27" providerId="ADAL" clId="{BBB1A706-ED97-4FE3-A763-5C40A5C5E6DA}" dt="2021-04-01T06:53:05.185" v="95" actId="27918"/>
        <pc:sldMkLst>
          <pc:docMk/>
          <pc:sldMk cId="1667945532" sldId="306"/>
        </pc:sldMkLst>
        <pc:spChg chg="mod">
          <ac:chgData name="Meyer Raphael (PAR-ES)" userId="79615dfe-ed48-4e74-a40f-4f7b034c1c27" providerId="ADAL" clId="{BBB1A706-ED97-4FE3-A763-5C40A5C5E6DA}" dt="2021-04-01T06:45:09.863" v="38" actId="20577"/>
          <ac:spMkLst>
            <pc:docMk/>
            <pc:sldMk cId="1667945532" sldId="306"/>
            <ac:spMk id="8" creationId="{5857C2A1-2CB8-4D4A-AEFD-E809BF73D04F}"/>
          </ac:spMkLst>
        </pc:spChg>
        <pc:spChg chg="mod">
          <ac:chgData name="Meyer Raphael (PAR-ES)" userId="79615dfe-ed48-4e74-a40f-4f7b034c1c27" providerId="ADAL" clId="{BBB1A706-ED97-4FE3-A763-5C40A5C5E6DA}" dt="2021-04-01T06:45:12.935" v="40" actId="20577"/>
          <ac:spMkLst>
            <pc:docMk/>
            <pc:sldMk cId="1667945532" sldId="306"/>
            <ac:spMk id="27" creationId="{46A6B042-39EE-4A58-BBAA-13D52264B660}"/>
          </ac:spMkLst>
        </pc:spChg>
        <pc:spChg chg="mod">
          <ac:chgData name="Meyer Raphael (PAR-ES)" userId="79615dfe-ed48-4e74-a40f-4f7b034c1c27" providerId="ADAL" clId="{BBB1A706-ED97-4FE3-A763-5C40A5C5E6DA}" dt="2021-04-01T06:42:38.023" v="17" actId="20577"/>
          <ac:spMkLst>
            <pc:docMk/>
            <pc:sldMk cId="1667945532" sldId="306"/>
            <ac:spMk id="31" creationId="{7491A47D-CAD4-478D-8F3A-296FFCB799F9}"/>
          </ac:spMkLst>
        </pc:spChg>
      </pc:sldChg>
      <pc:sldChg chg="del">
        <pc:chgData name="Meyer Raphael (PAR-ES)" userId="79615dfe-ed48-4e74-a40f-4f7b034c1c27" providerId="ADAL" clId="{BBB1A706-ED97-4FE3-A763-5C40A5C5E6DA}" dt="2021-04-01T06:49:45.726" v="72" actId="2696"/>
        <pc:sldMkLst>
          <pc:docMk/>
          <pc:sldMk cId="205331994" sldId="340"/>
        </pc:sldMkLst>
      </pc:sldChg>
      <pc:sldChg chg="del">
        <pc:chgData name="Meyer Raphael (PAR-ES)" userId="79615dfe-ed48-4e74-a40f-4f7b034c1c27" providerId="ADAL" clId="{BBB1A706-ED97-4FE3-A763-5C40A5C5E6DA}" dt="2021-04-01T06:51:41.230" v="81" actId="2696"/>
        <pc:sldMkLst>
          <pc:docMk/>
          <pc:sldMk cId="3020850231" sldId="341"/>
        </pc:sldMkLst>
      </pc:sldChg>
      <pc:sldChg chg="addSp delSp modSp add mod ord">
        <pc:chgData name="Meyer Raphael (PAR-ES)" userId="79615dfe-ed48-4e74-a40f-4f7b034c1c27" providerId="ADAL" clId="{BBB1A706-ED97-4FE3-A763-5C40A5C5E6DA}" dt="2021-04-01T06:49:21.365" v="71"/>
        <pc:sldMkLst>
          <pc:docMk/>
          <pc:sldMk cId="2400256824" sldId="342"/>
        </pc:sldMkLst>
        <pc:spChg chg="mod">
          <ac:chgData name="Meyer Raphael (PAR-ES)" userId="79615dfe-ed48-4e74-a40f-4f7b034c1c27" providerId="ADAL" clId="{BBB1A706-ED97-4FE3-A763-5C40A5C5E6DA}" dt="2021-04-01T06:48:21.854" v="65"/>
          <ac:spMkLst>
            <pc:docMk/>
            <pc:sldMk cId="2400256824" sldId="342"/>
            <ac:spMk id="2" creationId="{A2DC317F-F1F4-4624-8FC1-3B68C1DBB3DA}"/>
          </ac:spMkLst>
        </pc:spChg>
        <pc:spChg chg="del">
          <ac:chgData name="Meyer Raphael (PAR-ES)" userId="79615dfe-ed48-4e74-a40f-4f7b034c1c27" providerId="ADAL" clId="{BBB1A706-ED97-4FE3-A763-5C40A5C5E6DA}" dt="2021-04-01T06:48:40.174" v="67" actId="478"/>
          <ac:spMkLst>
            <pc:docMk/>
            <pc:sldMk cId="2400256824" sldId="342"/>
            <ac:spMk id="7" creationId="{BA3F9A72-0541-4D1F-8CD8-1C2B8074FA1B}"/>
          </ac:spMkLst>
        </pc:spChg>
        <pc:spChg chg="mod">
          <ac:chgData name="Meyer Raphael (PAR-ES)" userId="79615dfe-ed48-4e74-a40f-4f7b034c1c27" providerId="ADAL" clId="{BBB1A706-ED97-4FE3-A763-5C40A5C5E6DA}" dt="2021-04-01T06:49:04.849" v="70" actId="14100"/>
          <ac:spMkLst>
            <pc:docMk/>
            <pc:sldMk cId="2400256824" sldId="342"/>
            <ac:spMk id="8" creationId="{5857C2A1-2CB8-4D4A-AEFD-E809BF73D04F}"/>
          </ac:spMkLst>
        </pc:spChg>
        <pc:spChg chg="del">
          <ac:chgData name="Meyer Raphael (PAR-ES)" userId="79615dfe-ed48-4e74-a40f-4f7b034c1c27" providerId="ADAL" clId="{BBB1A706-ED97-4FE3-A763-5C40A5C5E6DA}" dt="2021-04-01T06:48:40.174" v="67" actId="478"/>
          <ac:spMkLst>
            <pc:docMk/>
            <pc:sldMk cId="2400256824" sldId="342"/>
            <ac:spMk id="9" creationId="{B6990B61-32B2-4ADC-BF01-EDF7B4080F97}"/>
          </ac:spMkLst>
        </pc:spChg>
        <pc:spChg chg="mod">
          <ac:chgData name="Meyer Raphael (PAR-ES)" userId="79615dfe-ed48-4e74-a40f-4f7b034c1c27" providerId="ADAL" clId="{BBB1A706-ED97-4FE3-A763-5C40A5C5E6DA}" dt="2021-04-01T06:48:29.914" v="66"/>
          <ac:spMkLst>
            <pc:docMk/>
            <pc:sldMk cId="2400256824" sldId="342"/>
            <ac:spMk id="10" creationId="{077DFD58-E5EE-4B68-9325-D935DB04DD40}"/>
          </ac:spMkLst>
        </pc:spChg>
        <pc:spChg chg="del">
          <ac:chgData name="Meyer Raphael (PAR-ES)" userId="79615dfe-ed48-4e74-a40f-4f7b034c1c27" providerId="ADAL" clId="{BBB1A706-ED97-4FE3-A763-5C40A5C5E6DA}" dt="2021-04-01T06:48:40.174" v="67" actId="478"/>
          <ac:spMkLst>
            <pc:docMk/>
            <pc:sldMk cId="2400256824" sldId="342"/>
            <ac:spMk id="17" creationId="{785E740C-F94A-4208-8DFD-63A603C16577}"/>
          </ac:spMkLst>
        </pc:spChg>
        <pc:spChg chg="add mod">
          <ac:chgData name="Meyer Raphael (PAR-ES)" userId="79615dfe-ed48-4e74-a40f-4f7b034c1c27" providerId="ADAL" clId="{BBB1A706-ED97-4FE3-A763-5C40A5C5E6DA}" dt="2021-04-01T06:48:54.428" v="68"/>
          <ac:spMkLst>
            <pc:docMk/>
            <pc:sldMk cId="2400256824" sldId="342"/>
            <ac:spMk id="21" creationId="{41184D5F-FBBF-4CD3-B75D-763BCF9F6AB5}"/>
          </ac:spMkLst>
        </pc:spChg>
        <pc:spChg chg="add mod">
          <ac:chgData name="Meyer Raphael (PAR-ES)" userId="79615dfe-ed48-4e74-a40f-4f7b034c1c27" providerId="ADAL" clId="{BBB1A706-ED97-4FE3-A763-5C40A5C5E6DA}" dt="2021-04-01T06:48:54.428" v="68"/>
          <ac:spMkLst>
            <pc:docMk/>
            <pc:sldMk cId="2400256824" sldId="342"/>
            <ac:spMk id="22" creationId="{AE1BFC7B-96D4-49BC-AF45-A7209D376ACE}"/>
          </ac:spMkLst>
        </pc:spChg>
        <pc:spChg chg="add mod">
          <ac:chgData name="Meyer Raphael (PAR-ES)" userId="79615dfe-ed48-4e74-a40f-4f7b034c1c27" providerId="ADAL" clId="{BBB1A706-ED97-4FE3-A763-5C40A5C5E6DA}" dt="2021-04-01T06:48:54.428" v="68"/>
          <ac:spMkLst>
            <pc:docMk/>
            <pc:sldMk cId="2400256824" sldId="342"/>
            <ac:spMk id="23" creationId="{E1D06205-E8E0-4170-9E41-59DD1AD15781}"/>
          </ac:spMkLst>
        </pc:spChg>
        <pc:spChg chg="add mod">
          <ac:chgData name="Meyer Raphael (PAR-ES)" userId="79615dfe-ed48-4e74-a40f-4f7b034c1c27" providerId="ADAL" clId="{BBB1A706-ED97-4FE3-A763-5C40A5C5E6DA}" dt="2021-04-01T06:48:54.428" v="68"/>
          <ac:spMkLst>
            <pc:docMk/>
            <pc:sldMk cId="2400256824" sldId="342"/>
            <ac:spMk id="25" creationId="{9A5F5775-CBDF-482E-B9BE-416BC6E92517}"/>
          </ac:spMkLst>
        </pc:spChg>
        <pc:spChg chg="del">
          <ac:chgData name="Meyer Raphael (PAR-ES)" userId="79615dfe-ed48-4e74-a40f-4f7b034c1c27" providerId="ADAL" clId="{BBB1A706-ED97-4FE3-A763-5C40A5C5E6DA}" dt="2021-04-01T06:48:40.174" v="67" actId="478"/>
          <ac:spMkLst>
            <pc:docMk/>
            <pc:sldMk cId="2400256824" sldId="342"/>
            <ac:spMk id="26" creationId="{BFD498B5-D73E-4C8A-9FAF-B3547647538C}"/>
          </ac:spMkLst>
        </pc:spChg>
        <pc:spChg chg="mod">
          <ac:chgData name="Meyer Raphael (PAR-ES)" userId="79615dfe-ed48-4e74-a40f-4f7b034c1c27" providerId="ADAL" clId="{BBB1A706-ED97-4FE3-A763-5C40A5C5E6DA}" dt="2021-04-01T06:49:21.365" v="71"/>
          <ac:spMkLst>
            <pc:docMk/>
            <pc:sldMk cId="2400256824" sldId="342"/>
            <ac:spMk id="27" creationId="{46A6B042-39EE-4A58-BBAA-13D52264B660}"/>
          </ac:spMkLst>
        </pc:spChg>
      </pc:sldChg>
      <pc:sldChg chg="addSp delSp modSp add mod ord">
        <pc:chgData name="Meyer Raphael (PAR-ES)" userId="79615dfe-ed48-4e74-a40f-4f7b034c1c27" providerId="ADAL" clId="{BBB1A706-ED97-4FE3-A763-5C40A5C5E6DA}" dt="2021-04-01T06:50:52.022" v="80" actId="14100"/>
        <pc:sldMkLst>
          <pc:docMk/>
          <pc:sldMk cId="684558250" sldId="343"/>
        </pc:sldMkLst>
        <pc:spChg chg="mod">
          <ac:chgData name="Meyer Raphael (PAR-ES)" userId="79615dfe-ed48-4e74-a40f-4f7b034c1c27" providerId="ADAL" clId="{BBB1A706-ED97-4FE3-A763-5C40A5C5E6DA}" dt="2021-04-01T06:50:20.052" v="75"/>
          <ac:spMkLst>
            <pc:docMk/>
            <pc:sldMk cId="684558250" sldId="343"/>
            <ac:spMk id="2" creationId="{A2DC317F-F1F4-4624-8FC1-3B68C1DBB3DA}"/>
          </ac:spMkLst>
        </pc:spChg>
        <pc:spChg chg="del">
          <ac:chgData name="Meyer Raphael (PAR-ES)" userId="79615dfe-ed48-4e74-a40f-4f7b034c1c27" providerId="ADAL" clId="{BBB1A706-ED97-4FE3-A763-5C40A5C5E6DA}" dt="2021-04-01T06:49:55.546" v="73" actId="478"/>
          <ac:spMkLst>
            <pc:docMk/>
            <pc:sldMk cId="684558250" sldId="343"/>
            <ac:spMk id="7" creationId="{BA3F9A72-0541-4D1F-8CD8-1C2B8074FA1B}"/>
          </ac:spMkLst>
        </pc:spChg>
        <pc:spChg chg="mod">
          <ac:chgData name="Meyer Raphael (PAR-ES)" userId="79615dfe-ed48-4e74-a40f-4f7b034c1c27" providerId="ADAL" clId="{BBB1A706-ED97-4FE3-A763-5C40A5C5E6DA}" dt="2021-04-01T06:50:38.479" v="78" actId="14100"/>
          <ac:spMkLst>
            <pc:docMk/>
            <pc:sldMk cId="684558250" sldId="343"/>
            <ac:spMk id="8" creationId="{5857C2A1-2CB8-4D4A-AEFD-E809BF73D04F}"/>
          </ac:spMkLst>
        </pc:spChg>
        <pc:spChg chg="del">
          <ac:chgData name="Meyer Raphael (PAR-ES)" userId="79615dfe-ed48-4e74-a40f-4f7b034c1c27" providerId="ADAL" clId="{BBB1A706-ED97-4FE3-A763-5C40A5C5E6DA}" dt="2021-04-01T06:49:55.546" v="73" actId="478"/>
          <ac:spMkLst>
            <pc:docMk/>
            <pc:sldMk cId="684558250" sldId="343"/>
            <ac:spMk id="9" creationId="{B6990B61-32B2-4ADC-BF01-EDF7B4080F97}"/>
          </ac:spMkLst>
        </pc:spChg>
        <pc:spChg chg="mod">
          <ac:chgData name="Meyer Raphael (PAR-ES)" userId="79615dfe-ed48-4e74-a40f-4f7b034c1c27" providerId="ADAL" clId="{BBB1A706-ED97-4FE3-A763-5C40A5C5E6DA}" dt="2021-04-01T06:50:29.235" v="76"/>
          <ac:spMkLst>
            <pc:docMk/>
            <pc:sldMk cId="684558250" sldId="343"/>
            <ac:spMk id="10" creationId="{077DFD58-E5EE-4B68-9325-D935DB04DD40}"/>
          </ac:spMkLst>
        </pc:spChg>
        <pc:spChg chg="del">
          <ac:chgData name="Meyer Raphael (PAR-ES)" userId="79615dfe-ed48-4e74-a40f-4f7b034c1c27" providerId="ADAL" clId="{BBB1A706-ED97-4FE3-A763-5C40A5C5E6DA}" dt="2021-04-01T06:49:55.546" v="73" actId="478"/>
          <ac:spMkLst>
            <pc:docMk/>
            <pc:sldMk cId="684558250" sldId="343"/>
            <ac:spMk id="17" creationId="{785E740C-F94A-4208-8DFD-63A603C16577}"/>
          </ac:spMkLst>
        </pc:spChg>
        <pc:spChg chg="add mod">
          <ac:chgData name="Meyer Raphael (PAR-ES)" userId="79615dfe-ed48-4e74-a40f-4f7b034c1c27" providerId="ADAL" clId="{BBB1A706-ED97-4FE3-A763-5C40A5C5E6DA}" dt="2021-04-01T06:50:07.783" v="74"/>
          <ac:spMkLst>
            <pc:docMk/>
            <pc:sldMk cId="684558250" sldId="343"/>
            <ac:spMk id="21" creationId="{EE24A48E-A591-46C5-9789-694EC6B95109}"/>
          </ac:spMkLst>
        </pc:spChg>
        <pc:spChg chg="add mod">
          <ac:chgData name="Meyer Raphael (PAR-ES)" userId="79615dfe-ed48-4e74-a40f-4f7b034c1c27" providerId="ADAL" clId="{BBB1A706-ED97-4FE3-A763-5C40A5C5E6DA}" dt="2021-04-01T06:50:07.783" v="74"/>
          <ac:spMkLst>
            <pc:docMk/>
            <pc:sldMk cId="684558250" sldId="343"/>
            <ac:spMk id="22" creationId="{C5B0A92E-1DBA-4171-BB2B-45DB22E436BD}"/>
          </ac:spMkLst>
        </pc:spChg>
        <pc:spChg chg="add mod">
          <ac:chgData name="Meyer Raphael (PAR-ES)" userId="79615dfe-ed48-4e74-a40f-4f7b034c1c27" providerId="ADAL" clId="{BBB1A706-ED97-4FE3-A763-5C40A5C5E6DA}" dt="2021-04-01T06:50:07.783" v="74"/>
          <ac:spMkLst>
            <pc:docMk/>
            <pc:sldMk cId="684558250" sldId="343"/>
            <ac:spMk id="23" creationId="{ECA89489-F401-4596-8DF3-789301017FA9}"/>
          </ac:spMkLst>
        </pc:spChg>
        <pc:spChg chg="add mod">
          <ac:chgData name="Meyer Raphael (PAR-ES)" userId="79615dfe-ed48-4e74-a40f-4f7b034c1c27" providerId="ADAL" clId="{BBB1A706-ED97-4FE3-A763-5C40A5C5E6DA}" dt="2021-04-01T06:50:07.783" v="74"/>
          <ac:spMkLst>
            <pc:docMk/>
            <pc:sldMk cId="684558250" sldId="343"/>
            <ac:spMk id="25" creationId="{F70186C3-6432-4C78-8474-9E1B8C2E3799}"/>
          </ac:spMkLst>
        </pc:spChg>
        <pc:spChg chg="del">
          <ac:chgData name="Meyer Raphael (PAR-ES)" userId="79615dfe-ed48-4e74-a40f-4f7b034c1c27" providerId="ADAL" clId="{BBB1A706-ED97-4FE3-A763-5C40A5C5E6DA}" dt="2021-04-01T06:49:55.546" v="73" actId="478"/>
          <ac:spMkLst>
            <pc:docMk/>
            <pc:sldMk cId="684558250" sldId="343"/>
            <ac:spMk id="26" creationId="{BFD498B5-D73E-4C8A-9FAF-B3547647538C}"/>
          </ac:spMkLst>
        </pc:spChg>
        <pc:spChg chg="mod">
          <ac:chgData name="Meyer Raphael (PAR-ES)" userId="79615dfe-ed48-4e74-a40f-4f7b034c1c27" providerId="ADAL" clId="{BBB1A706-ED97-4FE3-A763-5C40A5C5E6DA}" dt="2021-04-01T06:50:52.022" v="80" actId="14100"/>
          <ac:spMkLst>
            <pc:docMk/>
            <pc:sldMk cId="684558250" sldId="343"/>
            <ac:spMk id="27" creationId="{46A6B042-39EE-4A58-BBAA-13D52264B660}"/>
          </ac:spMkLst>
        </pc:spChg>
      </pc:sldChg>
    </pc:docChg>
  </pc:docChgLst>
  <pc:docChgLst>
    <pc:chgData name="Meyer Raphael (PAR-ES)" userId="79615dfe-ed48-4e74-a40f-4f7b034c1c27" providerId="ADAL" clId="{38AF8AF8-3015-4A40-885D-1810E82E92DA}"/>
    <pc:docChg chg="delSld">
      <pc:chgData name="Meyer Raphael (PAR-ES)" userId="79615dfe-ed48-4e74-a40f-4f7b034c1c27" providerId="ADAL" clId="{38AF8AF8-3015-4A40-885D-1810E82E92DA}" dt="2022-03-09T15:47:26.635" v="0" actId="47"/>
      <pc:docMkLst>
        <pc:docMk/>
      </pc:docMkLst>
      <pc:sldChg chg="del">
        <pc:chgData name="Meyer Raphael (PAR-ES)" userId="79615dfe-ed48-4e74-a40f-4f7b034c1c27" providerId="ADAL" clId="{38AF8AF8-3015-4A40-885D-1810E82E92DA}" dt="2022-03-09T15:47:26.635" v="0" actId="47"/>
        <pc:sldMkLst>
          <pc:docMk/>
          <pc:sldMk cId="2844382326" sldId="415"/>
        </pc:sldMkLst>
      </pc:sldChg>
      <pc:sldChg chg="del">
        <pc:chgData name="Meyer Raphael (PAR-ES)" userId="79615dfe-ed48-4e74-a40f-4f7b034c1c27" providerId="ADAL" clId="{38AF8AF8-3015-4A40-885D-1810E82E92DA}" dt="2022-03-09T15:47:26.635" v="0" actId="47"/>
        <pc:sldMkLst>
          <pc:docMk/>
          <pc:sldMk cId="2251798312" sldId="416"/>
        </pc:sldMkLst>
      </pc:sldChg>
      <pc:sldChg chg="del">
        <pc:chgData name="Meyer Raphael (PAR-ES)" userId="79615dfe-ed48-4e74-a40f-4f7b034c1c27" providerId="ADAL" clId="{38AF8AF8-3015-4A40-885D-1810E82E92DA}" dt="2022-03-09T15:47:26.635" v="0" actId="47"/>
        <pc:sldMkLst>
          <pc:docMk/>
          <pc:sldMk cId="1913231849" sldId="417"/>
        </pc:sldMkLst>
      </pc:sldChg>
    </pc:docChg>
  </pc:docChgLst>
  <pc:docChgLst>
    <pc:chgData name="Meyer Raphael (PAR-ES)" userId="79615dfe-ed48-4e74-a40f-4f7b034c1c27" providerId="ADAL" clId="{0712858C-16EF-4F56-A99A-2501A98C8650}"/>
    <pc:docChg chg="undo custSel addSld modSld">
      <pc:chgData name="Meyer Raphael (PAR-ES)" userId="79615dfe-ed48-4e74-a40f-4f7b034c1c27" providerId="ADAL" clId="{0712858C-16EF-4F56-A99A-2501A98C8650}" dt="2021-10-07T13:56:46.888" v="380" actId="20577"/>
      <pc:docMkLst>
        <pc:docMk/>
      </pc:docMkLst>
      <pc:sldChg chg="addSp modSp mod">
        <pc:chgData name="Meyer Raphael (PAR-ES)" userId="79615dfe-ed48-4e74-a40f-4f7b034c1c27" providerId="ADAL" clId="{0712858C-16EF-4F56-A99A-2501A98C8650}" dt="2021-10-07T10:57:43.139" v="165" actId="1038"/>
        <pc:sldMkLst>
          <pc:docMk/>
          <pc:sldMk cId="2479672112" sldId="369"/>
        </pc:sldMkLst>
        <pc:spChg chg="mod ord">
          <ac:chgData name="Meyer Raphael (PAR-ES)" userId="79615dfe-ed48-4e74-a40f-4f7b034c1c27" providerId="ADAL" clId="{0712858C-16EF-4F56-A99A-2501A98C8650}" dt="2021-10-07T10:57:33.740" v="84" actId="166"/>
          <ac:spMkLst>
            <pc:docMk/>
            <pc:sldMk cId="2479672112" sldId="369"/>
            <ac:spMk id="6" creationId="{0EEE4EA3-E16E-424B-97F9-53A8F5D585AE}"/>
          </ac:spMkLst>
        </pc:spChg>
        <pc:spChg chg="add mod">
          <ac:chgData name="Meyer Raphael (PAR-ES)" userId="79615dfe-ed48-4e74-a40f-4f7b034c1c27" providerId="ADAL" clId="{0712858C-16EF-4F56-A99A-2501A98C8650}" dt="2021-10-07T10:57:43.139" v="165" actId="1038"/>
          <ac:spMkLst>
            <pc:docMk/>
            <pc:sldMk cId="2479672112" sldId="369"/>
            <ac:spMk id="16" creationId="{3730218D-3B66-4C1D-8690-924989D01B0B}"/>
          </ac:spMkLst>
        </pc:spChg>
        <pc:graphicFrameChg chg="mod">
          <ac:chgData name="Meyer Raphael (PAR-ES)" userId="79615dfe-ed48-4e74-a40f-4f7b034c1c27" providerId="ADAL" clId="{0712858C-16EF-4F56-A99A-2501A98C8650}" dt="2021-10-07T10:56:31.888" v="4" actId="1076"/>
          <ac:graphicFrameMkLst>
            <pc:docMk/>
            <pc:sldMk cId="2479672112" sldId="369"/>
            <ac:graphicFrameMk id="5" creationId="{4CF6AB8B-CAB9-4C7E-8E59-E00357A4D7F0}"/>
          </ac:graphicFrameMkLst>
        </pc:graphicFrameChg>
        <pc:graphicFrameChg chg="mod">
          <ac:chgData name="Meyer Raphael (PAR-ES)" userId="79615dfe-ed48-4e74-a40f-4f7b034c1c27" providerId="ADAL" clId="{0712858C-16EF-4F56-A99A-2501A98C8650}" dt="2021-10-07T10:57:14.295" v="83" actId="166"/>
          <ac:graphicFrameMkLst>
            <pc:docMk/>
            <pc:sldMk cId="2479672112" sldId="369"/>
            <ac:graphicFrameMk id="14" creationId="{448E30CC-0B60-4748-AEB6-C3648EB8AB40}"/>
          </ac:graphicFrameMkLst>
        </pc:graphicFrameChg>
      </pc:sldChg>
      <pc:sldChg chg="addSp delSp modSp add mod">
        <pc:chgData name="Meyer Raphael (PAR-ES)" userId="79615dfe-ed48-4e74-a40f-4f7b034c1c27" providerId="ADAL" clId="{0712858C-16EF-4F56-A99A-2501A98C8650}" dt="2021-10-07T13:56:46.888" v="380" actId="20577"/>
        <pc:sldMkLst>
          <pc:docMk/>
          <pc:sldMk cId="3462026173" sldId="370"/>
        </pc:sldMkLst>
        <pc:spChg chg="del mod">
          <ac:chgData name="Meyer Raphael (PAR-ES)" userId="79615dfe-ed48-4e74-a40f-4f7b034c1c27" providerId="ADAL" clId="{0712858C-16EF-4F56-A99A-2501A98C8650}" dt="2021-10-07T13:54:42.877" v="258" actId="478"/>
          <ac:spMkLst>
            <pc:docMk/>
            <pc:sldMk cId="3462026173" sldId="370"/>
            <ac:spMk id="2" creationId="{72711E6E-1416-465E-9A46-D62B6B2FD2A4}"/>
          </ac:spMkLst>
        </pc:spChg>
        <pc:spChg chg="mod">
          <ac:chgData name="Meyer Raphael (PAR-ES)" userId="79615dfe-ed48-4e74-a40f-4f7b034c1c27" providerId="ADAL" clId="{0712858C-16EF-4F56-A99A-2501A98C8650}" dt="2021-10-07T13:53:58.982" v="228" actId="6549"/>
          <ac:spMkLst>
            <pc:docMk/>
            <pc:sldMk cId="3462026173" sldId="370"/>
            <ac:spMk id="3" creationId="{C8768AF4-4D23-49CA-95CE-2763BC39243D}"/>
          </ac:spMkLst>
        </pc:spChg>
        <pc:spChg chg="mod">
          <ac:chgData name="Meyer Raphael (PAR-ES)" userId="79615dfe-ed48-4e74-a40f-4f7b034c1c27" providerId="ADAL" clId="{0712858C-16EF-4F56-A99A-2501A98C8650}" dt="2021-10-07T13:53:44.810" v="227" actId="1076"/>
          <ac:spMkLst>
            <pc:docMk/>
            <pc:sldMk cId="3462026173" sldId="370"/>
            <ac:spMk id="9" creationId="{42AA12ED-4579-4FE5-A07A-BC01B76928FB}"/>
          </ac:spMkLst>
        </pc:spChg>
        <pc:spChg chg="mod">
          <ac:chgData name="Meyer Raphael (PAR-ES)" userId="79615dfe-ed48-4e74-a40f-4f7b034c1c27" providerId="ADAL" clId="{0712858C-16EF-4F56-A99A-2501A98C8650}" dt="2021-10-07T13:52:27.066" v="182" actId="1076"/>
          <ac:spMkLst>
            <pc:docMk/>
            <pc:sldMk cId="3462026173" sldId="370"/>
            <ac:spMk id="12" creationId="{4DA2B71E-2CC2-4C38-BAAB-A71345A07B83}"/>
          </ac:spMkLst>
        </pc:spChg>
        <pc:spChg chg="mod">
          <ac:chgData name="Meyer Raphael (PAR-ES)" userId="79615dfe-ed48-4e74-a40f-4f7b034c1c27" providerId="ADAL" clId="{0712858C-16EF-4F56-A99A-2501A98C8650}" dt="2021-10-07T13:53:00.737" v="190" actId="1076"/>
          <ac:spMkLst>
            <pc:docMk/>
            <pc:sldMk cId="3462026173" sldId="370"/>
            <ac:spMk id="13" creationId="{B946C02A-50DE-42C7-A209-D603829BA4B1}"/>
          </ac:spMkLst>
        </pc:spChg>
        <pc:spChg chg="add del mod">
          <ac:chgData name="Meyer Raphael (PAR-ES)" userId="79615dfe-ed48-4e74-a40f-4f7b034c1c27" providerId="ADAL" clId="{0712858C-16EF-4F56-A99A-2501A98C8650}" dt="2021-10-07T13:54:52.282" v="261" actId="478"/>
          <ac:spMkLst>
            <pc:docMk/>
            <pc:sldMk cId="3462026173" sldId="370"/>
            <ac:spMk id="16" creationId="{CF108DDD-12CA-4DEF-8E2E-F43DE1FB0B06}"/>
          </ac:spMkLst>
        </pc:spChg>
        <pc:spChg chg="add del mod">
          <ac:chgData name="Meyer Raphael (PAR-ES)" userId="79615dfe-ed48-4e74-a40f-4f7b034c1c27" providerId="ADAL" clId="{0712858C-16EF-4F56-A99A-2501A98C8650}" dt="2021-10-07T13:54:47.554" v="260"/>
          <ac:spMkLst>
            <pc:docMk/>
            <pc:sldMk cId="3462026173" sldId="370"/>
            <ac:spMk id="17" creationId="{8C7C0310-CDAE-47DA-8551-E1C76E010A8B}"/>
          </ac:spMkLst>
        </pc:spChg>
        <pc:spChg chg="add del mod">
          <ac:chgData name="Meyer Raphael (PAR-ES)" userId="79615dfe-ed48-4e74-a40f-4f7b034c1c27" providerId="ADAL" clId="{0712858C-16EF-4F56-A99A-2501A98C8650}" dt="2021-10-07T13:54:47.554" v="260"/>
          <ac:spMkLst>
            <pc:docMk/>
            <pc:sldMk cId="3462026173" sldId="370"/>
            <ac:spMk id="18" creationId="{4FB579AC-665E-4EE6-BB19-C3D3977CC220}"/>
          </ac:spMkLst>
        </pc:spChg>
        <pc:spChg chg="add mod">
          <ac:chgData name="Meyer Raphael (PAR-ES)" userId="79615dfe-ed48-4e74-a40f-4f7b034c1c27" providerId="ADAL" clId="{0712858C-16EF-4F56-A99A-2501A98C8650}" dt="2021-10-07T13:55:47.688" v="324" actId="20577"/>
          <ac:spMkLst>
            <pc:docMk/>
            <pc:sldMk cId="3462026173" sldId="370"/>
            <ac:spMk id="19" creationId="{9FB4AF3B-D5AD-4F53-ABB0-E4CE1F5D8E5E}"/>
          </ac:spMkLst>
        </pc:spChg>
        <pc:spChg chg="add mod">
          <ac:chgData name="Meyer Raphael (PAR-ES)" userId="79615dfe-ed48-4e74-a40f-4f7b034c1c27" providerId="ADAL" clId="{0712858C-16EF-4F56-A99A-2501A98C8650}" dt="2021-10-07T13:56:46.888" v="380" actId="20577"/>
          <ac:spMkLst>
            <pc:docMk/>
            <pc:sldMk cId="3462026173" sldId="370"/>
            <ac:spMk id="20" creationId="{6D955C95-B626-44C6-B064-0754E67E37CF}"/>
          </ac:spMkLst>
        </pc:spChg>
        <pc:graphicFrameChg chg="add mod">
          <ac:chgData name="Meyer Raphael (PAR-ES)" userId="79615dfe-ed48-4e74-a40f-4f7b034c1c27" providerId="ADAL" clId="{0712858C-16EF-4F56-A99A-2501A98C8650}" dt="2021-10-07T13:53:07.540" v="192" actId="1076"/>
          <ac:graphicFrameMkLst>
            <pc:docMk/>
            <pc:sldMk cId="3462026173" sldId="370"/>
            <ac:graphicFrameMk id="10" creationId="{E856299E-9B60-478F-8674-1045505692C4}"/>
          </ac:graphicFrameMkLst>
        </pc:graphicFrameChg>
        <pc:picChg chg="del">
          <ac:chgData name="Meyer Raphael (PAR-ES)" userId="79615dfe-ed48-4e74-a40f-4f7b034c1c27" providerId="ADAL" clId="{0712858C-16EF-4F56-A99A-2501A98C8650}" dt="2021-10-07T13:48:23.805" v="167" actId="478"/>
          <ac:picMkLst>
            <pc:docMk/>
            <pc:sldMk cId="3462026173" sldId="370"/>
            <ac:picMk id="15" creationId="{55BD0271-4DD3-43E3-A3B9-E8F00535D21A}"/>
          </ac:picMkLst>
        </pc:picChg>
        <pc:cxnChg chg="mod">
          <ac:chgData name="Meyer Raphael (PAR-ES)" userId="79615dfe-ed48-4e74-a40f-4f7b034c1c27" providerId="ADAL" clId="{0712858C-16EF-4F56-A99A-2501A98C8650}" dt="2021-10-07T13:53:32.433" v="225" actId="14100"/>
          <ac:cxnSpMkLst>
            <pc:docMk/>
            <pc:sldMk cId="3462026173" sldId="370"/>
            <ac:cxnSpMk id="7" creationId="{D77902D2-9169-4095-AF09-B1A9DB2A7B74}"/>
          </ac:cxnSpMkLst>
        </pc:cxnChg>
        <pc:cxnChg chg="mod">
          <ac:chgData name="Meyer Raphael (PAR-ES)" userId="79615dfe-ed48-4e74-a40f-4f7b034c1c27" providerId="ADAL" clId="{0712858C-16EF-4F56-A99A-2501A98C8650}" dt="2021-10-07T13:53:36.676" v="226" actId="14100"/>
          <ac:cxnSpMkLst>
            <pc:docMk/>
            <pc:sldMk cId="3462026173" sldId="370"/>
            <ac:cxnSpMk id="11" creationId="{A9B79FFE-7EB4-42F9-AF46-169C3E5C72D5}"/>
          </ac:cxnSpMkLst>
        </pc:cxnChg>
      </pc:sldChg>
    </pc:docChg>
  </pc:docChgLst>
  <pc:docChgLst>
    <pc:chgData name="Meyer Raphael (PAR-ES)" userId="79615dfe-ed48-4e74-a40f-4f7b034c1c27" providerId="ADAL" clId="{8F7AFD01-8FC7-4C21-BC24-E6066722842E}"/>
    <pc:docChg chg="delSld">
      <pc:chgData name="Meyer Raphael (PAR-ES)" userId="79615dfe-ed48-4e74-a40f-4f7b034c1c27" providerId="ADAL" clId="{8F7AFD01-8FC7-4C21-BC24-E6066722842E}" dt="2021-06-15T07:22:54.651" v="6" actId="2696"/>
      <pc:docMkLst>
        <pc:docMk/>
      </pc:docMkLst>
      <pc:sldChg chg="del">
        <pc:chgData name="Meyer Raphael (PAR-ES)" userId="79615dfe-ed48-4e74-a40f-4f7b034c1c27" providerId="ADAL" clId="{8F7AFD01-8FC7-4C21-BC24-E6066722842E}" dt="2021-06-15T07:22:09.401" v="1" actId="2696"/>
        <pc:sldMkLst>
          <pc:docMk/>
          <pc:sldMk cId="342226240" sldId="295"/>
        </pc:sldMkLst>
      </pc:sldChg>
      <pc:sldChg chg="del">
        <pc:chgData name="Meyer Raphael (PAR-ES)" userId="79615dfe-ed48-4e74-a40f-4f7b034c1c27" providerId="ADAL" clId="{8F7AFD01-8FC7-4C21-BC24-E6066722842E}" dt="2021-06-15T07:22:54.651" v="6" actId="2696"/>
        <pc:sldMkLst>
          <pc:docMk/>
          <pc:sldMk cId="1492035608" sldId="296"/>
        </pc:sldMkLst>
      </pc:sldChg>
      <pc:sldChg chg="del">
        <pc:chgData name="Meyer Raphael (PAR-ES)" userId="79615dfe-ed48-4e74-a40f-4f7b034c1c27" providerId="ADAL" clId="{8F7AFD01-8FC7-4C21-BC24-E6066722842E}" dt="2021-06-15T07:22:03.263" v="0" actId="2696"/>
        <pc:sldMkLst>
          <pc:docMk/>
          <pc:sldMk cId="1670059232" sldId="297"/>
        </pc:sldMkLst>
      </pc:sldChg>
      <pc:sldChg chg="del">
        <pc:chgData name="Meyer Raphael (PAR-ES)" userId="79615dfe-ed48-4e74-a40f-4f7b034c1c27" providerId="ADAL" clId="{8F7AFD01-8FC7-4C21-BC24-E6066722842E}" dt="2021-06-15T07:22:18.041" v="2" actId="2696"/>
        <pc:sldMkLst>
          <pc:docMk/>
          <pc:sldMk cId="1794381502" sldId="301"/>
        </pc:sldMkLst>
      </pc:sldChg>
      <pc:sldChg chg="del">
        <pc:chgData name="Meyer Raphael (PAR-ES)" userId="79615dfe-ed48-4e74-a40f-4f7b034c1c27" providerId="ADAL" clId="{8F7AFD01-8FC7-4C21-BC24-E6066722842E}" dt="2021-06-15T07:22:26.902" v="4" actId="2696"/>
        <pc:sldMkLst>
          <pc:docMk/>
          <pc:sldMk cId="2829123890" sldId="302"/>
        </pc:sldMkLst>
      </pc:sldChg>
      <pc:sldChg chg="del">
        <pc:chgData name="Meyer Raphael (PAR-ES)" userId="79615dfe-ed48-4e74-a40f-4f7b034c1c27" providerId="ADAL" clId="{8F7AFD01-8FC7-4C21-BC24-E6066722842E}" dt="2021-06-15T07:22:31.797" v="5" actId="2696"/>
        <pc:sldMkLst>
          <pc:docMk/>
          <pc:sldMk cId="220263692" sldId="303"/>
        </pc:sldMkLst>
      </pc:sldChg>
      <pc:sldChg chg="del">
        <pc:chgData name="Meyer Raphael (PAR-ES)" userId="79615dfe-ed48-4e74-a40f-4f7b034c1c27" providerId="ADAL" clId="{8F7AFD01-8FC7-4C21-BC24-E6066722842E}" dt="2021-06-15T07:22:23.185" v="3" actId="2696"/>
        <pc:sldMkLst>
          <pc:docMk/>
          <pc:sldMk cId="4199929677" sldId="304"/>
        </pc:sldMkLst>
      </pc:sldChg>
    </pc:docChg>
  </pc:docChgLst>
  <pc:docChgLst>
    <pc:chgData name="Meyer Raphael (PAR-ES)" userId="79615dfe-ed48-4e74-a40f-4f7b034c1c27" providerId="ADAL" clId="{6FC2220F-25B4-483E-8E4F-9E2FCA818304}"/>
    <pc:docChg chg="undo custSel modSld">
      <pc:chgData name="Meyer Raphael (PAR-ES)" userId="79615dfe-ed48-4e74-a40f-4f7b034c1c27" providerId="ADAL" clId="{6FC2220F-25B4-483E-8E4F-9E2FCA818304}" dt="2021-10-25T08:17:44.179" v="1021" actId="20577"/>
      <pc:docMkLst>
        <pc:docMk/>
      </pc:docMkLst>
      <pc:sldChg chg="modSp mod">
        <pc:chgData name="Meyer Raphael (PAR-ES)" userId="79615dfe-ed48-4e74-a40f-4f7b034c1c27" providerId="ADAL" clId="{6FC2220F-25B4-483E-8E4F-9E2FCA818304}" dt="2021-10-22T07:15:02.229" v="67" actId="1038"/>
        <pc:sldMkLst>
          <pc:docMk/>
          <pc:sldMk cId="2343299233" sldId="374"/>
        </pc:sldMkLst>
        <pc:spChg chg="mod">
          <ac:chgData name="Meyer Raphael (PAR-ES)" userId="79615dfe-ed48-4e74-a40f-4f7b034c1c27" providerId="ADAL" clId="{6FC2220F-25B4-483E-8E4F-9E2FCA818304}" dt="2021-10-22T07:15:02.229" v="67" actId="1038"/>
          <ac:spMkLst>
            <pc:docMk/>
            <pc:sldMk cId="2343299233" sldId="374"/>
            <ac:spMk id="12" creationId="{970D2C07-63A2-4265-B006-56F685FE80A5}"/>
          </ac:spMkLst>
        </pc:spChg>
        <pc:spChg chg="mod">
          <ac:chgData name="Meyer Raphael (PAR-ES)" userId="79615dfe-ed48-4e74-a40f-4f7b034c1c27" providerId="ADAL" clId="{6FC2220F-25B4-483E-8E4F-9E2FCA818304}" dt="2021-10-22T07:15:02.229" v="67" actId="1038"/>
          <ac:spMkLst>
            <pc:docMk/>
            <pc:sldMk cId="2343299233" sldId="374"/>
            <ac:spMk id="13" creationId="{93412675-62AA-41D8-997C-4E877ED953A8}"/>
          </ac:spMkLst>
        </pc:spChg>
        <pc:graphicFrameChg chg="modGraphic">
          <ac:chgData name="Meyer Raphael (PAR-ES)" userId="79615dfe-ed48-4e74-a40f-4f7b034c1c27" providerId="ADAL" clId="{6FC2220F-25B4-483E-8E4F-9E2FCA818304}" dt="2021-10-22T07:09:35.961" v="9" actId="20577"/>
          <ac:graphicFrameMkLst>
            <pc:docMk/>
            <pc:sldMk cId="2343299233" sldId="374"/>
            <ac:graphicFrameMk id="9" creationId="{E1369C63-C4A7-403B-A03F-B004599F910A}"/>
          </ac:graphicFrameMkLst>
        </pc:graphicFrameChg>
        <pc:cxnChg chg="mod">
          <ac:chgData name="Meyer Raphael (PAR-ES)" userId="79615dfe-ed48-4e74-a40f-4f7b034c1c27" providerId="ADAL" clId="{6FC2220F-25B4-483E-8E4F-9E2FCA818304}" dt="2021-10-22T07:15:02.229" v="67" actId="1038"/>
          <ac:cxnSpMkLst>
            <pc:docMk/>
            <pc:sldMk cId="2343299233" sldId="374"/>
            <ac:cxnSpMk id="8" creationId="{6F3EB9D3-E612-42D9-859B-1905BD876C26}"/>
          </ac:cxnSpMkLst>
        </pc:cxnChg>
      </pc:sldChg>
      <pc:sldChg chg="modSp mod">
        <pc:chgData name="Meyer Raphael (PAR-ES)" userId="79615dfe-ed48-4e74-a40f-4f7b034c1c27" providerId="ADAL" clId="{6FC2220F-25B4-483E-8E4F-9E2FCA818304}" dt="2021-10-22T07:15:39.555" v="77" actId="1037"/>
        <pc:sldMkLst>
          <pc:docMk/>
          <pc:sldMk cId="3759573184" sldId="375"/>
        </pc:sldMkLst>
        <pc:spChg chg="mod">
          <ac:chgData name="Meyer Raphael (PAR-ES)" userId="79615dfe-ed48-4e74-a40f-4f7b034c1c27" providerId="ADAL" clId="{6FC2220F-25B4-483E-8E4F-9E2FCA818304}" dt="2021-10-22T07:15:39.555" v="77" actId="1037"/>
          <ac:spMkLst>
            <pc:docMk/>
            <pc:sldMk cId="3759573184" sldId="375"/>
            <ac:spMk id="12" creationId="{970D2C07-63A2-4265-B006-56F685FE80A5}"/>
          </ac:spMkLst>
        </pc:spChg>
        <pc:spChg chg="mod">
          <ac:chgData name="Meyer Raphael (PAR-ES)" userId="79615dfe-ed48-4e74-a40f-4f7b034c1c27" providerId="ADAL" clId="{6FC2220F-25B4-483E-8E4F-9E2FCA818304}" dt="2021-10-22T07:15:39.555" v="77" actId="1037"/>
          <ac:spMkLst>
            <pc:docMk/>
            <pc:sldMk cId="3759573184" sldId="375"/>
            <ac:spMk id="13" creationId="{93412675-62AA-41D8-997C-4E877ED953A8}"/>
          </ac:spMkLst>
        </pc:spChg>
        <pc:graphicFrameChg chg="mod modGraphic">
          <ac:chgData name="Meyer Raphael (PAR-ES)" userId="79615dfe-ed48-4e74-a40f-4f7b034c1c27" providerId="ADAL" clId="{6FC2220F-25B4-483E-8E4F-9E2FCA818304}" dt="2021-10-22T07:09:58.641" v="12" actId="20577"/>
          <ac:graphicFrameMkLst>
            <pc:docMk/>
            <pc:sldMk cId="3759573184" sldId="375"/>
            <ac:graphicFrameMk id="11" creationId="{622F4C5D-EB92-4061-B40F-47BBCBF5D8BD}"/>
          </ac:graphicFrameMkLst>
        </pc:graphicFrameChg>
        <pc:cxnChg chg="mod">
          <ac:chgData name="Meyer Raphael (PAR-ES)" userId="79615dfe-ed48-4e74-a40f-4f7b034c1c27" providerId="ADAL" clId="{6FC2220F-25B4-483E-8E4F-9E2FCA818304}" dt="2021-10-22T07:15:39.555" v="77" actId="1037"/>
          <ac:cxnSpMkLst>
            <pc:docMk/>
            <pc:sldMk cId="3759573184" sldId="375"/>
            <ac:cxnSpMk id="8" creationId="{6F3EB9D3-E612-42D9-859B-1905BD876C26}"/>
          </ac:cxnSpMkLst>
        </pc:cxnChg>
      </pc:sldChg>
      <pc:sldChg chg="modSp mod">
        <pc:chgData name="Meyer Raphael (PAR-ES)" userId="79615dfe-ed48-4e74-a40f-4f7b034c1c27" providerId="ADAL" clId="{6FC2220F-25B4-483E-8E4F-9E2FCA818304}" dt="2021-10-22T07:15:49.707" v="87" actId="1037"/>
        <pc:sldMkLst>
          <pc:docMk/>
          <pc:sldMk cId="3027727826" sldId="376"/>
        </pc:sldMkLst>
        <pc:spChg chg="mod">
          <ac:chgData name="Meyer Raphael (PAR-ES)" userId="79615dfe-ed48-4e74-a40f-4f7b034c1c27" providerId="ADAL" clId="{6FC2220F-25B4-483E-8E4F-9E2FCA818304}" dt="2021-10-22T07:15:49.707" v="87" actId="1037"/>
          <ac:spMkLst>
            <pc:docMk/>
            <pc:sldMk cId="3027727826" sldId="376"/>
            <ac:spMk id="12" creationId="{970D2C07-63A2-4265-B006-56F685FE80A5}"/>
          </ac:spMkLst>
        </pc:spChg>
        <pc:spChg chg="mod">
          <ac:chgData name="Meyer Raphael (PAR-ES)" userId="79615dfe-ed48-4e74-a40f-4f7b034c1c27" providerId="ADAL" clId="{6FC2220F-25B4-483E-8E4F-9E2FCA818304}" dt="2021-10-22T07:15:49.707" v="87" actId="1037"/>
          <ac:spMkLst>
            <pc:docMk/>
            <pc:sldMk cId="3027727826" sldId="376"/>
            <ac:spMk id="13" creationId="{93412675-62AA-41D8-997C-4E877ED953A8}"/>
          </ac:spMkLst>
        </pc:spChg>
        <pc:graphicFrameChg chg="mod modGraphic">
          <ac:chgData name="Meyer Raphael (PAR-ES)" userId="79615dfe-ed48-4e74-a40f-4f7b034c1c27" providerId="ADAL" clId="{6FC2220F-25B4-483E-8E4F-9E2FCA818304}" dt="2021-10-22T07:10:06.131" v="15" actId="20577"/>
          <ac:graphicFrameMkLst>
            <pc:docMk/>
            <pc:sldMk cId="3027727826" sldId="376"/>
            <ac:graphicFrameMk id="9" creationId="{E1369C63-C4A7-403B-A03F-B004599F910A}"/>
          </ac:graphicFrameMkLst>
        </pc:graphicFrameChg>
        <pc:cxnChg chg="mod">
          <ac:chgData name="Meyer Raphael (PAR-ES)" userId="79615dfe-ed48-4e74-a40f-4f7b034c1c27" providerId="ADAL" clId="{6FC2220F-25B4-483E-8E4F-9E2FCA818304}" dt="2021-10-22T07:15:49.707" v="87" actId="1037"/>
          <ac:cxnSpMkLst>
            <pc:docMk/>
            <pc:sldMk cId="3027727826" sldId="376"/>
            <ac:cxnSpMk id="8" creationId="{6F3EB9D3-E612-42D9-859B-1905BD876C26}"/>
          </ac:cxnSpMkLst>
        </pc:cxnChg>
      </pc:sldChg>
      <pc:sldChg chg="addSp modSp mod">
        <pc:chgData name="Meyer Raphael (PAR-ES)" userId="79615dfe-ed48-4e74-a40f-4f7b034c1c27" providerId="ADAL" clId="{6FC2220F-25B4-483E-8E4F-9E2FCA818304}" dt="2021-10-25T07:43:51.061" v="868" actId="207"/>
        <pc:sldMkLst>
          <pc:docMk/>
          <pc:sldMk cId="1199121354" sldId="417"/>
        </pc:sldMkLst>
        <pc:spChg chg="add mod">
          <ac:chgData name="Meyer Raphael (PAR-ES)" userId="79615dfe-ed48-4e74-a40f-4f7b034c1c27" providerId="ADAL" clId="{6FC2220F-25B4-483E-8E4F-9E2FCA818304}" dt="2021-10-25T07:43:03.494" v="867" actId="1038"/>
          <ac:spMkLst>
            <pc:docMk/>
            <pc:sldMk cId="1199121354" sldId="417"/>
            <ac:spMk id="2" creationId="{D3072831-C6C5-4500-82D9-A4E697E149D4}"/>
          </ac:spMkLst>
        </pc:spChg>
        <pc:spChg chg="add mod">
          <ac:chgData name="Meyer Raphael (PAR-ES)" userId="79615dfe-ed48-4e74-a40f-4f7b034c1c27" providerId="ADAL" clId="{6FC2220F-25B4-483E-8E4F-9E2FCA818304}" dt="2021-10-25T07:43:51.061" v="868" actId="207"/>
          <ac:spMkLst>
            <pc:docMk/>
            <pc:sldMk cId="1199121354" sldId="417"/>
            <ac:spMk id="3" creationId="{73840E3E-6FD1-4C1A-8277-0FABBAB9146A}"/>
          </ac:spMkLst>
        </pc:spChg>
        <pc:spChg chg="add mod">
          <ac:chgData name="Meyer Raphael (PAR-ES)" userId="79615dfe-ed48-4e74-a40f-4f7b034c1c27" providerId="ADAL" clId="{6FC2220F-25B4-483E-8E4F-9E2FCA818304}" dt="2021-10-25T07:42:20.793" v="514" actId="1037"/>
          <ac:spMkLst>
            <pc:docMk/>
            <pc:sldMk cId="1199121354" sldId="417"/>
            <ac:spMk id="21" creationId="{DF06278D-3932-4CB6-A54D-3F3BA8DFD03F}"/>
          </ac:spMkLst>
        </pc:spChg>
      </pc:sldChg>
      <pc:sldChg chg="addSp modSp mod">
        <pc:chgData name="Meyer Raphael (PAR-ES)" userId="79615dfe-ed48-4e74-a40f-4f7b034c1c27" providerId="ADAL" clId="{6FC2220F-25B4-483E-8E4F-9E2FCA818304}" dt="2021-10-25T08:13:48.600" v="1007" actId="20577"/>
        <pc:sldMkLst>
          <pc:docMk/>
          <pc:sldMk cId="200941906" sldId="419"/>
        </pc:sldMkLst>
        <pc:spChg chg="add mod">
          <ac:chgData name="Meyer Raphael (PAR-ES)" userId="79615dfe-ed48-4e74-a40f-4f7b034c1c27" providerId="ADAL" clId="{6FC2220F-25B4-483E-8E4F-9E2FCA818304}" dt="2021-10-25T08:13:48.600" v="1007" actId="20577"/>
          <ac:spMkLst>
            <pc:docMk/>
            <pc:sldMk cId="200941906" sldId="419"/>
            <ac:spMk id="19" creationId="{C9D68B27-6022-4C1D-A210-C0037BB4C784}"/>
          </ac:spMkLst>
        </pc:spChg>
        <pc:spChg chg="add mod">
          <ac:chgData name="Meyer Raphael (PAR-ES)" userId="79615dfe-ed48-4e74-a40f-4f7b034c1c27" providerId="ADAL" clId="{6FC2220F-25B4-483E-8E4F-9E2FCA818304}" dt="2021-10-25T07:46:37.595" v="919" actId="1037"/>
          <ac:spMkLst>
            <pc:docMk/>
            <pc:sldMk cId="200941906" sldId="419"/>
            <ac:spMk id="20" creationId="{F24A071D-DF83-4BD8-A0DF-CECD20705BCD}"/>
          </ac:spMkLst>
        </pc:spChg>
        <pc:spChg chg="add mod">
          <ac:chgData name="Meyer Raphael (PAR-ES)" userId="79615dfe-ed48-4e74-a40f-4f7b034c1c27" providerId="ADAL" clId="{6FC2220F-25B4-483E-8E4F-9E2FCA818304}" dt="2021-10-25T07:46:37.595" v="919" actId="1037"/>
          <ac:spMkLst>
            <pc:docMk/>
            <pc:sldMk cId="200941906" sldId="419"/>
            <ac:spMk id="21" creationId="{FE118A8E-FAC4-48F2-B7D7-7F6392382158}"/>
          </ac:spMkLst>
        </pc:spChg>
      </pc:sldChg>
      <pc:sldChg chg="addSp delSp modSp mod">
        <pc:chgData name="Meyer Raphael (PAR-ES)" userId="79615dfe-ed48-4e74-a40f-4f7b034c1c27" providerId="ADAL" clId="{6FC2220F-25B4-483E-8E4F-9E2FCA818304}" dt="2021-10-25T08:17:44.179" v="1021" actId="20577"/>
        <pc:sldMkLst>
          <pc:docMk/>
          <pc:sldMk cId="3299254992" sldId="420"/>
        </pc:sldMkLst>
        <pc:spChg chg="add del">
          <ac:chgData name="Meyer Raphael (PAR-ES)" userId="79615dfe-ed48-4e74-a40f-4f7b034c1c27" providerId="ADAL" clId="{6FC2220F-25B4-483E-8E4F-9E2FCA818304}" dt="2021-10-25T07:52:17.577" v="922" actId="22"/>
          <ac:spMkLst>
            <pc:docMk/>
            <pc:sldMk cId="3299254992" sldId="420"/>
            <ac:spMk id="20" creationId="{D6244E50-AB50-40E7-8547-F26FCA7CF3A4}"/>
          </ac:spMkLst>
        </pc:spChg>
        <pc:spChg chg="add mod">
          <ac:chgData name="Meyer Raphael (PAR-ES)" userId="79615dfe-ed48-4e74-a40f-4f7b034c1c27" providerId="ADAL" clId="{6FC2220F-25B4-483E-8E4F-9E2FCA818304}" dt="2021-10-25T08:17:44.179" v="1021" actId="20577"/>
          <ac:spMkLst>
            <pc:docMk/>
            <pc:sldMk cId="3299254992" sldId="420"/>
            <ac:spMk id="21" creationId="{4B90160B-6648-45BB-A5C3-EB5B31E56152}"/>
          </ac:spMkLst>
        </pc:spChg>
        <pc:spChg chg="add mod">
          <ac:chgData name="Meyer Raphael (PAR-ES)" userId="79615dfe-ed48-4e74-a40f-4f7b034c1c27" providerId="ADAL" clId="{6FC2220F-25B4-483E-8E4F-9E2FCA818304}" dt="2021-10-25T07:53:01.205" v="968" actId="1038"/>
          <ac:spMkLst>
            <pc:docMk/>
            <pc:sldMk cId="3299254992" sldId="420"/>
            <ac:spMk id="22" creationId="{CFE96C0C-1138-4465-9CE6-8A98790C1BC3}"/>
          </ac:spMkLst>
        </pc:spChg>
        <pc:spChg chg="add mod">
          <ac:chgData name="Meyer Raphael (PAR-ES)" userId="79615dfe-ed48-4e74-a40f-4f7b034c1c27" providerId="ADAL" clId="{6FC2220F-25B4-483E-8E4F-9E2FCA818304}" dt="2021-10-25T07:53:01.205" v="968" actId="1038"/>
          <ac:spMkLst>
            <pc:docMk/>
            <pc:sldMk cId="3299254992" sldId="420"/>
            <ac:spMk id="23" creationId="{BFF0EC26-A771-4DBD-AB84-6E94F4A5A085}"/>
          </ac:spMkLst>
        </pc:spChg>
      </pc:sldChg>
    </pc:docChg>
  </pc:docChgLst>
  <pc:docChgLst>
    <pc:chgData name="Meyer Raphael (PAR-ES)" userId="79615dfe-ed48-4e74-a40f-4f7b034c1c27" providerId="ADAL" clId="{40A9BA90-785D-4DA2-BADF-77C405BC64A0}"/>
    <pc:docChg chg="undo custSel addSld delSld modSld sldOrd">
      <pc:chgData name="Meyer Raphael (PAR-ES)" userId="79615dfe-ed48-4e74-a40f-4f7b034c1c27" providerId="ADAL" clId="{40A9BA90-785D-4DA2-BADF-77C405BC64A0}" dt="2021-06-15T14:51:50.820" v="274"/>
      <pc:docMkLst>
        <pc:docMk/>
      </pc:docMkLst>
      <pc:sldChg chg="modSp mod">
        <pc:chgData name="Meyer Raphael (PAR-ES)" userId="79615dfe-ed48-4e74-a40f-4f7b034c1c27" providerId="ADAL" clId="{40A9BA90-785D-4DA2-BADF-77C405BC64A0}" dt="2021-06-15T14:37:09.270" v="158" actId="554"/>
        <pc:sldMkLst>
          <pc:docMk/>
          <pc:sldMk cId="1495152177" sldId="298"/>
        </pc:sldMkLst>
        <pc:spChg chg="mod">
          <ac:chgData name="Meyer Raphael (PAR-ES)" userId="79615dfe-ed48-4e74-a40f-4f7b034c1c27" providerId="ADAL" clId="{40A9BA90-785D-4DA2-BADF-77C405BC64A0}" dt="2021-06-15T14:29:25.246" v="81" actId="1036"/>
          <ac:spMkLst>
            <pc:docMk/>
            <pc:sldMk cId="1495152177" sldId="298"/>
            <ac:spMk id="6" creationId="{0EEE4EA3-E16E-424B-97F9-53A8F5D585AE}"/>
          </ac:spMkLst>
        </pc:spChg>
        <pc:spChg chg="mod">
          <ac:chgData name="Meyer Raphael (PAR-ES)" userId="79615dfe-ed48-4e74-a40f-4f7b034c1c27" providerId="ADAL" clId="{40A9BA90-785D-4DA2-BADF-77C405BC64A0}" dt="2021-06-15T14:29:45.581" v="85" actId="1076"/>
          <ac:spMkLst>
            <pc:docMk/>
            <pc:sldMk cId="1495152177" sldId="298"/>
            <ac:spMk id="7" creationId="{51421822-C303-4FC2-BF5E-F4377E568635}"/>
          </ac:spMkLst>
        </pc:spChg>
        <pc:spChg chg="mod">
          <ac:chgData name="Meyer Raphael (PAR-ES)" userId="79615dfe-ed48-4e74-a40f-4f7b034c1c27" providerId="ADAL" clId="{40A9BA90-785D-4DA2-BADF-77C405BC64A0}" dt="2021-06-15T14:37:09.270" v="158" actId="554"/>
          <ac:spMkLst>
            <pc:docMk/>
            <pc:sldMk cId="1495152177" sldId="298"/>
            <ac:spMk id="12" creationId="{970D2C07-63A2-4265-B006-56F685FE80A5}"/>
          </ac:spMkLst>
        </pc:spChg>
        <pc:spChg chg="mod">
          <ac:chgData name="Meyer Raphael (PAR-ES)" userId="79615dfe-ed48-4e74-a40f-4f7b034c1c27" providerId="ADAL" clId="{40A9BA90-785D-4DA2-BADF-77C405BC64A0}" dt="2021-06-15T14:37:09.270" v="158" actId="554"/>
          <ac:spMkLst>
            <pc:docMk/>
            <pc:sldMk cId="1495152177" sldId="298"/>
            <ac:spMk id="13" creationId="{93412675-62AA-41D8-997C-4E877ED953A8}"/>
          </ac:spMkLst>
        </pc:spChg>
        <pc:graphicFrameChg chg="mod">
          <ac:chgData name="Meyer Raphael (PAR-ES)" userId="79615dfe-ed48-4e74-a40f-4f7b034c1c27" providerId="ADAL" clId="{40A9BA90-785D-4DA2-BADF-77C405BC64A0}" dt="2021-06-15T14:34:18.871" v="132" actId="693"/>
          <ac:graphicFrameMkLst>
            <pc:docMk/>
            <pc:sldMk cId="1495152177" sldId="298"/>
            <ac:graphicFrameMk id="5" creationId="{4CF6AB8B-CAB9-4C7E-8E59-E00357A4D7F0}"/>
          </ac:graphicFrameMkLst>
        </pc:graphicFrameChg>
        <pc:graphicFrameChg chg="mod">
          <ac:chgData name="Meyer Raphael (PAR-ES)" userId="79615dfe-ed48-4e74-a40f-4f7b034c1c27" providerId="ADAL" clId="{40A9BA90-785D-4DA2-BADF-77C405BC64A0}" dt="2021-06-15T14:29:54.178" v="105" actId="1036"/>
          <ac:graphicFrameMkLst>
            <pc:docMk/>
            <pc:sldMk cId="1495152177" sldId="298"/>
            <ac:graphicFrameMk id="9" creationId="{E1369C63-C4A7-403B-A03F-B004599F910A}"/>
          </ac:graphicFrameMkLst>
        </pc:graphicFrameChg>
        <pc:cxnChg chg="mod">
          <ac:chgData name="Meyer Raphael (PAR-ES)" userId="79615dfe-ed48-4e74-a40f-4f7b034c1c27" providerId="ADAL" clId="{40A9BA90-785D-4DA2-BADF-77C405BC64A0}" dt="2021-06-15T14:35:14.473" v="157" actId="1037"/>
          <ac:cxnSpMkLst>
            <pc:docMk/>
            <pc:sldMk cId="1495152177" sldId="298"/>
            <ac:cxnSpMk id="8" creationId="{6F3EB9D3-E612-42D9-859B-1905BD876C26}"/>
          </ac:cxnSpMkLst>
        </pc:cxnChg>
      </pc:sldChg>
      <pc:sldChg chg="modSp del ord">
        <pc:chgData name="Meyer Raphael (PAR-ES)" userId="79615dfe-ed48-4e74-a40f-4f7b034c1c27" providerId="ADAL" clId="{40A9BA90-785D-4DA2-BADF-77C405BC64A0}" dt="2021-06-15T14:49:08.825" v="261" actId="47"/>
        <pc:sldMkLst>
          <pc:docMk/>
          <pc:sldMk cId="1559304935" sldId="363"/>
        </pc:sldMkLst>
        <pc:graphicFrameChg chg="mod">
          <ac:chgData name="Meyer Raphael (PAR-ES)" userId="79615dfe-ed48-4e74-a40f-4f7b034c1c27" providerId="ADAL" clId="{40A9BA90-785D-4DA2-BADF-77C405BC64A0}" dt="2021-06-15T14:32:38.587" v="131" actId="693"/>
          <ac:graphicFrameMkLst>
            <pc:docMk/>
            <pc:sldMk cId="1559304935" sldId="363"/>
            <ac:graphicFrameMk id="5" creationId="{4CF6AB8B-CAB9-4C7E-8E59-E00357A4D7F0}"/>
          </ac:graphicFrameMkLst>
        </pc:graphicFrameChg>
      </pc:sldChg>
      <pc:sldChg chg="del ord">
        <pc:chgData name="Meyer Raphael (PAR-ES)" userId="79615dfe-ed48-4e74-a40f-4f7b034c1c27" providerId="ADAL" clId="{40A9BA90-785D-4DA2-BADF-77C405BC64A0}" dt="2021-06-15T14:50:31.407" v="267" actId="47"/>
        <pc:sldMkLst>
          <pc:docMk/>
          <pc:sldMk cId="2043265091" sldId="364"/>
        </pc:sldMkLst>
      </pc:sldChg>
      <pc:sldChg chg="addSp delSp modSp add mod">
        <pc:chgData name="Meyer Raphael (PAR-ES)" userId="79615dfe-ed48-4e74-a40f-4f7b034c1c27" providerId="ADAL" clId="{40A9BA90-785D-4DA2-BADF-77C405BC64A0}" dt="2021-06-15T14:48:56.292" v="260" actId="207"/>
        <pc:sldMkLst>
          <pc:docMk/>
          <pc:sldMk cId="3590012689" sldId="365"/>
        </pc:sldMkLst>
        <pc:spChg chg="mod">
          <ac:chgData name="Meyer Raphael (PAR-ES)" userId="79615dfe-ed48-4e74-a40f-4f7b034c1c27" providerId="ADAL" clId="{40A9BA90-785D-4DA2-BADF-77C405BC64A0}" dt="2021-06-15T14:37:59.791" v="165"/>
          <ac:spMkLst>
            <pc:docMk/>
            <pc:sldMk cId="3590012689" sldId="365"/>
            <ac:spMk id="2" creationId="{A2DC317F-F1F4-4624-8FC1-3B68C1DBB3DA}"/>
          </ac:spMkLst>
        </pc:spChg>
        <pc:spChg chg="add del mod">
          <ac:chgData name="Meyer Raphael (PAR-ES)" userId="79615dfe-ed48-4e74-a40f-4f7b034c1c27" providerId="ADAL" clId="{40A9BA90-785D-4DA2-BADF-77C405BC64A0}" dt="2021-06-15T14:39:22.852" v="179" actId="1076"/>
          <ac:spMkLst>
            <pc:docMk/>
            <pc:sldMk cId="3590012689" sldId="365"/>
            <ac:spMk id="6" creationId="{0EEE4EA3-E16E-424B-97F9-53A8F5D585AE}"/>
          </ac:spMkLst>
        </pc:spChg>
        <pc:spChg chg="mod">
          <ac:chgData name="Meyer Raphael (PAR-ES)" userId="79615dfe-ed48-4e74-a40f-4f7b034c1c27" providerId="ADAL" clId="{40A9BA90-785D-4DA2-BADF-77C405BC64A0}" dt="2021-06-15T14:43:13.625" v="241"/>
          <ac:spMkLst>
            <pc:docMk/>
            <pc:sldMk cId="3590012689" sldId="365"/>
            <ac:spMk id="7" creationId="{51421822-C303-4FC2-BF5E-F4377E568635}"/>
          </ac:spMkLst>
        </pc:spChg>
        <pc:spChg chg="mod">
          <ac:chgData name="Meyer Raphael (PAR-ES)" userId="79615dfe-ed48-4e74-a40f-4f7b034c1c27" providerId="ADAL" clId="{40A9BA90-785D-4DA2-BADF-77C405BC64A0}" dt="2021-06-15T14:38:08.944" v="166"/>
          <ac:spMkLst>
            <pc:docMk/>
            <pc:sldMk cId="3590012689" sldId="365"/>
            <ac:spMk id="10" creationId="{077DFD58-E5EE-4B68-9325-D935DB04DD40}"/>
          </ac:spMkLst>
        </pc:spChg>
        <pc:graphicFrameChg chg="mod">
          <ac:chgData name="Meyer Raphael (PAR-ES)" userId="79615dfe-ed48-4e74-a40f-4f7b034c1c27" providerId="ADAL" clId="{40A9BA90-785D-4DA2-BADF-77C405BC64A0}" dt="2021-06-15T14:48:56.292" v="260" actId="207"/>
          <ac:graphicFrameMkLst>
            <pc:docMk/>
            <pc:sldMk cId="3590012689" sldId="365"/>
            <ac:graphicFrameMk id="5" creationId="{4CF6AB8B-CAB9-4C7E-8E59-E00357A4D7F0}"/>
          </ac:graphicFrameMkLst>
        </pc:graphicFrameChg>
        <pc:graphicFrameChg chg="mod modGraphic">
          <ac:chgData name="Meyer Raphael (PAR-ES)" userId="79615dfe-ed48-4e74-a40f-4f7b034c1c27" providerId="ADAL" clId="{40A9BA90-785D-4DA2-BADF-77C405BC64A0}" dt="2021-06-15T14:48:47.852" v="259" actId="13926"/>
          <ac:graphicFrameMkLst>
            <pc:docMk/>
            <pc:sldMk cId="3590012689" sldId="365"/>
            <ac:graphicFrameMk id="9" creationId="{E1369C63-C4A7-403B-A03F-B004599F910A}"/>
          </ac:graphicFrameMkLst>
        </pc:graphicFrameChg>
        <pc:picChg chg="add del mod">
          <ac:chgData name="Meyer Raphael (PAR-ES)" userId="79615dfe-ed48-4e74-a40f-4f7b034c1c27" providerId="ADAL" clId="{40A9BA90-785D-4DA2-BADF-77C405BC64A0}" dt="2021-06-15T14:39:17.961" v="177"/>
          <ac:picMkLst>
            <pc:docMk/>
            <pc:sldMk cId="3590012689" sldId="365"/>
            <ac:picMk id="4" creationId="{A0221F0E-0FD9-413C-9DD8-9D1190B2427C}"/>
          </ac:picMkLst>
        </pc:picChg>
        <pc:picChg chg="add del mod">
          <ac:chgData name="Meyer Raphael (PAR-ES)" userId="79615dfe-ed48-4e74-a40f-4f7b034c1c27" providerId="ADAL" clId="{40A9BA90-785D-4DA2-BADF-77C405BC64A0}" dt="2021-06-15T14:42:39.552" v="240" actId="478"/>
          <ac:picMkLst>
            <pc:docMk/>
            <pc:sldMk cId="3590012689" sldId="365"/>
            <ac:picMk id="11" creationId="{7AB9421F-5F44-4705-9C2B-F02C9A51D5DC}"/>
          </ac:picMkLst>
        </pc:picChg>
      </pc:sldChg>
      <pc:sldChg chg="modSp add mod">
        <pc:chgData name="Meyer Raphael (PAR-ES)" userId="79615dfe-ed48-4e74-a40f-4f7b034c1c27" providerId="ADAL" clId="{40A9BA90-785D-4DA2-BADF-77C405BC64A0}" dt="2021-06-15T14:51:50.820" v="274"/>
        <pc:sldMkLst>
          <pc:docMk/>
          <pc:sldMk cId="689864941" sldId="366"/>
        </pc:sldMkLst>
        <pc:spChg chg="mod">
          <ac:chgData name="Meyer Raphael (PAR-ES)" userId="79615dfe-ed48-4e74-a40f-4f7b034c1c27" providerId="ADAL" clId="{40A9BA90-785D-4DA2-BADF-77C405BC64A0}" dt="2021-06-15T14:49:43.752" v="262"/>
          <ac:spMkLst>
            <pc:docMk/>
            <pc:sldMk cId="689864941" sldId="366"/>
            <ac:spMk id="2" creationId="{A2DC317F-F1F4-4624-8FC1-3B68C1DBB3DA}"/>
          </ac:spMkLst>
        </pc:spChg>
        <pc:spChg chg="mod">
          <ac:chgData name="Meyer Raphael (PAR-ES)" userId="79615dfe-ed48-4e74-a40f-4f7b034c1c27" providerId="ADAL" clId="{40A9BA90-785D-4DA2-BADF-77C405BC64A0}" dt="2021-06-15T14:50:09.714" v="264"/>
          <ac:spMkLst>
            <pc:docMk/>
            <pc:sldMk cId="689864941" sldId="366"/>
            <ac:spMk id="7" creationId="{51421822-C303-4FC2-BF5E-F4377E568635}"/>
          </ac:spMkLst>
        </pc:spChg>
        <pc:spChg chg="mod">
          <ac:chgData name="Meyer Raphael (PAR-ES)" userId="79615dfe-ed48-4e74-a40f-4f7b034c1c27" providerId="ADAL" clId="{40A9BA90-785D-4DA2-BADF-77C405BC64A0}" dt="2021-06-15T14:49:53.700" v="263"/>
          <ac:spMkLst>
            <pc:docMk/>
            <pc:sldMk cId="689864941" sldId="366"/>
            <ac:spMk id="10" creationId="{077DFD58-E5EE-4B68-9325-D935DB04DD40}"/>
          </ac:spMkLst>
        </pc:spChg>
        <pc:graphicFrameChg chg="mod">
          <ac:chgData name="Meyer Raphael (PAR-ES)" userId="79615dfe-ed48-4e74-a40f-4f7b034c1c27" providerId="ADAL" clId="{40A9BA90-785D-4DA2-BADF-77C405BC64A0}" dt="2021-06-15T14:50:20.856" v="265" actId="207"/>
          <ac:graphicFrameMkLst>
            <pc:docMk/>
            <pc:sldMk cId="689864941" sldId="366"/>
            <ac:graphicFrameMk id="5" creationId="{4CF6AB8B-CAB9-4C7E-8E59-E00357A4D7F0}"/>
          </ac:graphicFrameMkLst>
        </pc:graphicFrameChg>
        <pc:graphicFrameChg chg="mod modGraphic">
          <ac:chgData name="Meyer Raphael (PAR-ES)" userId="79615dfe-ed48-4e74-a40f-4f7b034c1c27" providerId="ADAL" clId="{40A9BA90-785D-4DA2-BADF-77C405BC64A0}" dt="2021-06-15T14:51:50.820" v="274"/>
          <ac:graphicFrameMkLst>
            <pc:docMk/>
            <pc:sldMk cId="689864941" sldId="366"/>
            <ac:graphicFrameMk id="9" creationId="{E1369C63-C4A7-403B-A03F-B004599F910A}"/>
          </ac:graphicFrameMkLst>
        </pc:graphicFrameChg>
      </pc:sldChg>
    </pc:docChg>
  </pc:docChgLst>
  <pc:docChgLst>
    <pc:chgData name="Meyer Raphael (PAR-ES)" userId="79615dfe-ed48-4e74-a40f-4f7b034c1c27" providerId="ADAL" clId="{5381B09C-6CC7-4512-B6AD-055336C6B097}"/>
    <pc:docChg chg="delSld">
      <pc:chgData name="Meyer Raphael (PAR-ES)" userId="79615dfe-ed48-4e74-a40f-4f7b034c1c27" providerId="ADAL" clId="{5381B09C-6CC7-4512-B6AD-055336C6B097}" dt="2021-11-08T11:32:43.108" v="0" actId="47"/>
      <pc:docMkLst>
        <pc:docMk/>
      </pc:docMkLst>
      <pc:sldChg chg="del">
        <pc:chgData name="Meyer Raphael (PAR-ES)" userId="79615dfe-ed48-4e74-a40f-4f7b034c1c27" providerId="ADAL" clId="{5381B09C-6CC7-4512-B6AD-055336C6B097}" dt="2021-11-08T11:32:43.108" v="0" actId="47"/>
        <pc:sldMkLst>
          <pc:docMk/>
          <pc:sldMk cId="3677740869" sldId="271"/>
        </pc:sldMkLst>
      </pc:sldChg>
      <pc:sldChg chg="del">
        <pc:chgData name="Meyer Raphael (PAR-ES)" userId="79615dfe-ed48-4e74-a40f-4f7b034c1c27" providerId="ADAL" clId="{5381B09C-6CC7-4512-B6AD-055336C6B097}" dt="2021-11-08T11:32:43.108" v="0" actId="47"/>
        <pc:sldMkLst>
          <pc:docMk/>
          <pc:sldMk cId="1963209825" sldId="272"/>
        </pc:sldMkLst>
      </pc:sldChg>
      <pc:sldChg chg="del">
        <pc:chgData name="Meyer Raphael (PAR-ES)" userId="79615dfe-ed48-4e74-a40f-4f7b034c1c27" providerId="ADAL" clId="{5381B09C-6CC7-4512-B6AD-055336C6B097}" dt="2021-11-08T11:32:43.108" v="0" actId="47"/>
        <pc:sldMkLst>
          <pc:docMk/>
          <pc:sldMk cId="1065586608" sldId="273"/>
        </pc:sldMkLst>
      </pc:sldChg>
    </pc:docChg>
  </pc:docChgLst>
  <pc:docChgLst>
    <pc:chgData name="Weigel Stefan (KOM-PGA-VSF)" userId="fd3b2067-2981-4ad8-bf3a-d2e1004e4fa8" providerId="ADAL" clId="{E58961C8-12A7-4E0C-8D19-B5F32C4D6914}"/>
    <pc:docChg chg="modSld sldOrd">
      <pc:chgData name="Weigel Stefan (KOM-PGA-VSF)" userId="fd3b2067-2981-4ad8-bf3a-d2e1004e4fa8" providerId="ADAL" clId="{E58961C8-12A7-4E0C-8D19-B5F32C4D6914}" dt="2020-10-06T09:46:59.642" v="2"/>
      <pc:docMkLst>
        <pc:docMk/>
      </pc:docMkLst>
      <pc:sldChg chg="modTransition">
        <pc:chgData name="Weigel Stefan (KOM-PGA-VSF)" userId="fd3b2067-2981-4ad8-bf3a-d2e1004e4fa8" providerId="ADAL" clId="{E58961C8-12A7-4E0C-8D19-B5F32C4D6914}" dt="2020-10-06T09:46:57.109" v="1"/>
        <pc:sldMkLst>
          <pc:docMk/>
          <pc:sldMk cId="1624757107" sldId="293"/>
        </pc:sldMkLst>
      </pc:sldChg>
      <pc:sldChg chg="modTransition">
        <pc:chgData name="Weigel Stefan (KOM-PGA-VSF)" userId="fd3b2067-2981-4ad8-bf3a-d2e1004e4fa8" providerId="ADAL" clId="{E58961C8-12A7-4E0C-8D19-B5F32C4D6914}" dt="2020-10-06T09:46:59.642" v="2"/>
        <pc:sldMkLst>
          <pc:docMk/>
          <pc:sldMk cId="278967075" sldId="294"/>
        </pc:sldMkLst>
      </pc:sldChg>
      <pc:sldChg chg="ord">
        <pc:chgData name="Weigel Stefan (KOM-PGA-VSF)" userId="fd3b2067-2981-4ad8-bf3a-d2e1004e4fa8" providerId="ADAL" clId="{E58961C8-12A7-4E0C-8D19-B5F32C4D6914}" dt="2020-10-06T09:46:47.762" v="0"/>
        <pc:sldMkLst>
          <pc:docMk/>
          <pc:sldMk cId="342226240" sldId="295"/>
        </pc:sldMkLst>
      </pc:sldChg>
    </pc:docChg>
  </pc:docChgLst>
  <pc:docChgLst>
    <pc:chgData name="Meyer Raphael (PAR-ES)" userId="79615dfe-ed48-4e74-a40f-4f7b034c1c27" providerId="ADAL" clId="{9C3B3081-711B-47CA-B6D3-9CEBB9DB5DFD}"/>
    <pc:docChg chg="undo redo custSel addSld delSld modSld sldOrd">
      <pc:chgData name="Meyer Raphael (PAR-ES)" userId="79615dfe-ed48-4e74-a40f-4f7b034c1c27" providerId="ADAL" clId="{9C3B3081-711B-47CA-B6D3-9CEBB9DB5DFD}" dt="2021-05-27T07:08:20.426" v="250" actId="27918"/>
      <pc:docMkLst>
        <pc:docMk/>
      </pc:docMkLst>
      <pc:sldChg chg="mod">
        <pc:chgData name="Meyer Raphael (PAR-ES)" userId="79615dfe-ed48-4e74-a40f-4f7b034c1c27" providerId="ADAL" clId="{9C3B3081-711B-47CA-B6D3-9CEBB9DB5DFD}" dt="2021-05-27T07:08:20.426" v="250" actId="27918"/>
        <pc:sldMkLst>
          <pc:docMk/>
          <pc:sldMk cId="1495152177" sldId="298"/>
        </pc:sldMkLst>
      </pc:sldChg>
      <pc:sldChg chg="modSp mod">
        <pc:chgData name="Meyer Raphael (PAR-ES)" userId="79615dfe-ed48-4e74-a40f-4f7b034c1c27" providerId="ADAL" clId="{9C3B3081-711B-47CA-B6D3-9CEBB9DB5DFD}" dt="2021-05-27T06:55:36.772" v="201" actId="552"/>
        <pc:sldMkLst>
          <pc:docMk/>
          <pc:sldMk cId="1667945532" sldId="306"/>
        </pc:sldMkLst>
        <pc:spChg chg="mod">
          <ac:chgData name="Meyer Raphael (PAR-ES)" userId="79615dfe-ed48-4e74-a40f-4f7b034c1c27" providerId="ADAL" clId="{9C3B3081-711B-47CA-B6D3-9CEBB9DB5DFD}" dt="2021-05-27T06:49:29.073" v="151" actId="1076"/>
          <ac:spMkLst>
            <pc:docMk/>
            <pc:sldMk cId="1667945532" sldId="306"/>
            <ac:spMk id="8" creationId="{5857C2A1-2CB8-4D4A-AEFD-E809BF73D04F}"/>
          </ac:spMkLst>
        </pc:spChg>
        <pc:spChg chg="mod">
          <ac:chgData name="Meyer Raphael (PAR-ES)" userId="79615dfe-ed48-4e74-a40f-4f7b034c1c27" providerId="ADAL" clId="{9C3B3081-711B-47CA-B6D3-9CEBB9DB5DFD}" dt="2021-05-27T06:55:16.262" v="199" actId="552"/>
          <ac:spMkLst>
            <pc:docMk/>
            <pc:sldMk cId="1667945532" sldId="306"/>
            <ac:spMk id="27" creationId="{46A6B042-39EE-4A58-BBAA-13D52264B660}"/>
          </ac:spMkLst>
        </pc:spChg>
        <pc:spChg chg="mod">
          <ac:chgData name="Meyer Raphael (PAR-ES)" userId="79615dfe-ed48-4e74-a40f-4f7b034c1c27" providerId="ADAL" clId="{9C3B3081-711B-47CA-B6D3-9CEBB9DB5DFD}" dt="2021-05-27T06:55:36.772" v="201" actId="552"/>
          <ac:spMkLst>
            <pc:docMk/>
            <pc:sldMk cId="1667945532" sldId="306"/>
            <ac:spMk id="28" creationId="{4492A3CD-6943-423D-BFEC-8129889E8B6F}"/>
          </ac:spMkLst>
        </pc:spChg>
        <pc:spChg chg="mod">
          <ac:chgData name="Meyer Raphael (PAR-ES)" userId="79615dfe-ed48-4e74-a40f-4f7b034c1c27" providerId="ADAL" clId="{9C3B3081-711B-47CA-B6D3-9CEBB9DB5DFD}" dt="2021-05-27T06:55:16.262" v="199" actId="552"/>
          <ac:spMkLst>
            <pc:docMk/>
            <pc:sldMk cId="1667945532" sldId="306"/>
            <ac:spMk id="31" creationId="{7491A47D-CAD4-478D-8F3A-296FFCB799F9}"/>
          </ac:spMkLst>
        </pc:spChg>
        <pc:spChg chg="mod">
          <ac:chgData name="Meyer Raphael (PAR-ES)" userId="79615dfe-ed48-4e74-a40f-4f7b034c1c27" providerId="ADAL" clId="{9C3B3081-711B-47CA-B6D3-9CEBB9DB5DFD}" dt="2021-05-27T06:55:36.772" v="201" actId="552"/>
          <ac:spMkLst>
            <pc:docMk/>
            <pc:sldMk cId="1667945532" sldId="306"/>
            <ac:spMk id="32" creationId="{E65DDA4F-7190-4D5B-B875-6818D18C9F6E}"/>
          </ac:spMkLst>
        </pc:spChg>
        <pc:graphicFrameChg chg="mod">
          <ac:chgData name="Meyer Raphael (PAR-ES)" userId="79615dfe-ed48-4e74-a40f-4f7b034c1c27" providerId="ADAL" clId="{9C3B3081-711B-47CA-B6D3-9CEBB9DB5DFD}" dt="2021-05-27T06:40:29.524" v="68"/>
          <ac:graphicFrameMkLst>
            <pc:docMk/>
            <pc:sldMk cId="1667945532" sldId="306"/>
            <ac:graphicFrameMk id="5" creationId="{4CF6AB8B-CAB9-4C7E-8E59-E00357A4D7F0}"/>
          </ac:graphicFrameMkLst>
        </pc:graphicFrameChg>
        <pc:cxnChg chg="mod">
          <ac:chgData name="Meyer Raphael (PAR-ES)" userId="79615dfe-ed48-4e74-a40f-4f7b034c1c27" providerId="ADAL" clId="{9C3B3081-711B-47CA-B6D3-9CEBB9DB5DFD}" dt="2021-05-27T06:48:40.115" v="146" actId="1076"/>
          <ac:cxnSpMkLst>
            <pc:docMk/>
            <pc:sldMk cId="1667945532" sldId="306"/>
            <ac:cxnSpMk id="20" creationId="{07FCC63F-5E2F-43DF-84ED-5FFEC92A0042}"/>
          </ac:cxnSpMkLst>
        </pc:cxnChg>
        <pc:cxnChg chg="mod">
          <ac:chgData name="Meyer Raphael (PAR-ES)" userId="79615dfe-ed48-4e74-a40f-4f7b034c1c27" providerId="ADAL" clId="{9C3B3081-711B-47CA-B6D3-9CEBB9DB5DFD}" dt="2021-05-27T06:48:26.976" v="145" actId="1037"/>
          <ac:cxnSpMkLst>
            <pc:docMk/>
            <pc:sldMk cId="1667945532" sldId="306"/>
            <ac:cxnSpMk id="29" creationId="{FD3E902F-283F-48FC-9504-FF2FF4EA4BF0}"/>
          </ac:cxnSpMkLst>
        </pc:cxnChg>
        <pc:cxnChg chg="mod">
          <ac:chgData name="Meyer Raphael (PAR-ES)" userId="79615dfe-ed48-4e74-a40f-4f7b034c1c27" providerId="ADAL" clId="{9C3B3081-711B-47CA-B6D3-9CEBB9DB5DFD}" dt="2021-05-27T06:54:57.089" v="198" actId="1038"/>
          <ac:cxnSpMkLst>
            <pc:docMk/>
            <pc:sldMk cId="1667945532" sldId="306"/>
            <ac:cxnSpMk id="30" creationId="{1D702FCA-793F-404B-84D5-F14C318BFFB3}"/>
          </ac:cxnSpMkLst>
        </pc:cxnChg>
      </pc:sldChg>
      <pc:sldChg chg="del">
        <pc:chgData name="Meyer Raphael (PAR-ES)" userId="79615dfe-ed48-4e74-a40f-4f7b034c1c27" providerId="ADAL" clId="{9C3B3081-711B-47CA-B6D3-9CEBB9DB5DFD}" dt="2021-05-27T06:58:46.931" v="214" actId="2696"/>
        <pc:sldMkLst>
          <pc:docMk/>
          <pc:sldMk cId="1952189380" sldId="356"/>
        </pc:sldMkLst>
      </pc:sldChg>
      <pc:sldChg chg="modSp del mod">
        <pc:chgData name="Meyer Raphael (PAR-ES)" userId="79615dfe-ed48-4e74-a40f-4f7b034c1c27" providerId="ADAL" clId="{9C3B3081-711B-47CA-B6D3-9CEBB9DB5DFD}" dt="2021-05-27T06:59:59.827" v="224" actId="2696"/>
        <pc:sldMkLst>
          <pc:docMk/>
          <pc:sldMk cId="3480515475" sldId="357"/>
        </pc:sldMkLst>
        <pc:spChg chg="mod">
          <ac:chgData name="Meyer Raphael (PAR-ES)" userId="79615dfe-ed48-4e74-a40f-4f7b034c1c27" providerId="ADAL" clId="{9C3B3081-711B-47CA-B6D3-9CEBB9DB5DFD}" dt="2021-05-27T06:59:29.711" v="220" actId="20577"/>
          <ac:spMkLst>
            <pc:docMk/>
            <pc:sldMk cId="3480515475" sldId="357"/>
            <ac:spMk id="8" creationId="{5857C2A1-2CB8-4D4A-AEFD-E809BF73D04F}"/>
          </ac:spMkLst>
        </pc:spChg>
      </pc:sldChg>
      <pc:sldChg chg="addSp delSp modSp add mod ord">
        <pc:chgData name="Meyer Raphael (PAR-ES)" userId="79615dfe-ed48-4e74-a40f-4f7b034c1c27" providerId="ADAL" clId="{9C3B3081-711B-47CA-B6D3-9CEBB9DB5DFD}" dt="2021-05-27T06:58:32.197" v="213"/>
        <pc:sldMkLst>
          <pc:docMk/>
          <pc:sldMk cId="1357620443" sldId="359"/>
        </pc:sldMkLst>
        <pc:spChg chg="mod">
          <ac:chgData name="Meyer Raphael (PAR-ES)" userId="79615dfe-ed48-4e74-a40f-4f7b034c1c27" providerId="ADAL" clId="{9C3B3081-711B-47CA-B6D3-9CEBB9DB5DFD}" dt="2021-05-27T06:58:03.226" v="210"/>
          <ac:spMkLst>
            <pc:docMk/>
            <pc:sldMk cId="1357620443" sldId="359"/>
            <ac:spMk id="2" creationId="{A2DC317F-F1F4-4624-8FC1-3B68C1DBB3DA}"/>
          </ac:spMkLst>
        </pc:spChg>
        <pc:spChg chg="del">
          <ac:chgData name="Meyer Raphael (PAR-ES)" userId="79615dfe-ed48-4e74-a40f-4f7b034c1c27" providerId="ADAL" clId="{9C3B3081-711B-47CA-B6D3-9CEBB9DB5DFD}" dt="2021-05-27T06:57:46.158" v="208" actId="478"/>
          <ac:spMkLst>
            <pc:docMk/>
            <pc:sldMk cId="1357620443" sldId="359"/>
            <ac:spMk id="7" creationId="{BA3F9A72-0541-4D1F-8CD8-1C2B8074FA1B}"/>
          </ac:spMkLst>
        </pc:spChg>
        <pc:spChg chg="mod">
          <ac:chgData name="Meyer Raphael (PAR-ES)" userId="79615dfe-ed48-4e74-a40f-4f7b034c1c27" providerId="ADAL" clId="{9C3B3081-711B-47CA-B6D3-9CEBB9DB5DFD}" dt="2021-05-27T06:58:17.657" v="212"/>
          <ac:spMkLst>
            <pc:docMk/>
            <pc:sldMk cId="1357620443" sldId="359"/>
            <ac:spMk id="8" creationId="{5857C2A1-2CB8-4D4A-AEFD-E809BF73D04F}"/>
          </ac:spMkLst>
        </pc:spChg>
        <pc:spChg chg="del">
          <ac:chgData name="Meyer Raphael (PAR-ES)" userId="79615dfe-ed48-4e74-a40f-4f7b034c1c27" providerId="ADAL" clId="{9C3B3081-711B-47CA-B6D3-9CEBB9DB5DFD}" dt="2021-05-27T06:57:46.158" v="208" actId="478"/>
          <ac:spMkLst>
            <pc:docMk/>
            <pc:sldMk cId="1357620443" sldId="359"/>
            <ac:spMk id="9" creationId="{B6990B61-32B2-4ADC-BF01-EDF7B4080F97}"/>
          </ac:spMkLst>
        </pc:spChg>
        <pc:spChg chg="mod">
          <ac:chgData name="Meyer Raphael (PAR-ES)" userId="79615dfe-ed48-4e74-a40f-4f7b034c1c27" providerId="ADAL" clId="{9C3B3081-711B-47CA-B6D3-9CEBB9DB5DFD}" dt="2021-05-27T06:58:10.620" v="211"/>
          <ac:spMkLst>
            <pc:docMk/>
            <pc:sldMk cId="1357620443" sldId="359"/>
            <ac:spMk id="10" creationId="{077DFD58-E5EE-4B68-9325-D935DB04DD40}"/>
          </ac:spMkLst>
        </pc:spChg>
        <pc:spChg chg="del">
          <ac:chgData name="Meyer Raphael (PAR-ES)" userId="79615dfe-ed48-4e74-a40f-4f7b034c1c27" providerId="ADAL" clId="{9C3B3081-711B-47CA-B6D3-9CEBB9DB5DFD}" dt="2021-05-27T06:57:46.158" v="208" actId="478"/>
          <ac:spMkLst>
            <pc:docMk/>
            <pc:sldMk cId="1357620443" sldId="359"/>
            <ac:spMk id="17" creationId="{785E740C-F94A-4208-8DFD-63A603C16577}"/>
          </ac:spMkLst>
        </pc:spChg>
        <pc:spChg chg="add mod">
          <ac:chgData name="Meyer Raphael (PAR-ES)" userId="79615dfe-ed48-4e74-a40f-4f7b034c1c27" providerId="ADAL" clId="{9C3B3081-711B-47CA-B6D3-9CEBB9DB5DFD}" dt="2021-05-27T06:57:55.348" v="209"/>
          <ac:spMkLst>
            <pc:docMk/>
            <pc:sldMk cId="1357620443" sldId="359"/>
            <ac:spMk id="21" creationId="{925F7354-10FA-48C5-92CE-49F9F8E62575}"/>
          </ac:spMkLst>
        </pc:spChg>
        <pc:spChg chg="add mod">
          <ac:chgData name="Meyer Raphael (PAR-ES)" userId="79615dfe-ed48-4e74-a40f-4f7b034c1c27" providerId="ADAL" clId="{9C3B3081-711B-47CA-B6D3-9CEBB9DB5DFD}" dt="2021-05-27T06:57:55.348" v="209"/>
          <ac:spMkLst>
            <pc:docMk/>
            <pc:sldMk cId="1357620443" sldId="359"/>
            <ac:spMk id="22" creationId="{74D5751A-9030-4AD6-B445-4C8B8C98FF78}"/>
          </ac:spMkLst>
        </pc:spChg>
        <pc:spChg chg="add mod">
          <ac:chgData name="Meyer Raphael (PAR-ES)" userId="79615dfe-ed48-4e74-a40f-4f7b034c1c27" providerId="ADAL" clId="{9C3B3081-711B-47CA-B6D3-9CEBB9DB5DFD}" dt="2021-05-27T06:57:55.348" v="209"/>
          <ac:spMkLst>
            <pc:docMk/>
            <pc:sldMk cId="1357620443" sldId="359"/>
            <ac:spMk id="23" creationId="{64EFDE9B-457B-4EF0-9004-B4241920D27B}"/>
          </ac:spMkLst>
        </pc:spChg>
        <pc:spChg chg="add mod">
          <ac:chgData name="Meyer Raphael (PAR-ES)" userId="79615dfe-ed48-4e74-a40f-4f7b034c1c27" providerId="ADAL" clId="{9C3B3081-711B-47CA-B6D3-9CEBB9DB5DFD}" dt="2021-05-27T06:57:55.348" v="209"/>
          <ac:spMkLst>
            <pc:docMk/>
            <pc:sldMk cId="1357620443" sldId="359"/>
            <ac:spMk id="25" creationId="{E3CB85A7-74FA-4AE2-AAE4-EE0E09B20508}"/>
          </ac:spMkLst>
        </pc:spChg>
        <pc:spChg chg="del">
          <ac:chgData name="Meyer Raphael (PAR-ES)" userId="79615dfe-ed48-4e74-a40f-4f7b034c1c27" providerId="ADAL" clId="{9C3B3081-711B-47CA-B6D3-9CEBB9DB5DFD}" dt="2021-05-27T06:57:46.158" v="208" actId="478"/>
          <ac:spMkLst>
            <pc:docMk/>
            <pc:sldMk cId="1357620443" sldId="359"/>
            <ac:spMk id="26" creationId="{BFD498B5-D73E-4C8A-9FAF-B3547647538C}"/>
          </ac:spMkLst>
        </pc:spChg>
        <pc:spChg chg="mod">
          <ac:chgData name="Meyer Raphael (PAR-ES)" userId="79615dfe-ed48-4e74-a40f-4f7b034c1c27" providerId="ADAL" clId="{9C3B3081-711B-47CA-B6D3-9CEBB9DB5DFD}" dt="2021-05-27T06:58:32.197" v="213"/>
          <ac:spMkLst>
            <pc:docMk/>
            <pc:sldMk cId="1357620443" sldId="359"/>
            <ac:spMk id="27" creationId="{46A6B042-39EE-4A58-BBAA-13D52264B660}"/>
          </ac:spMkLst>
        </pc:spChg>
      </pc:sldChg>
      <pc:sldChg chg="addSp delSp modSp add mod ord">
        <pc:chgData name="Meyer Raphael (PAR-ES)" userId="79615dfe-ed48-4e74-a40f-4f7b034c1c27" providerId="ADAL" clId="{9C3B3081-711B-47CA-B6D3-9CEBB9DB5DFD}" dt="2021-05-27T06:59:48.985" v="223" actId="14100"/>
        <pc:sldMkLst>
          <pc:docMk/>
          <pc:sldMk cId="2316055797" sldId="360"/>
        </pc:sldMkLst>
        <pc:spChg chg="mod">
          <ac:chgData name="Meyer Raphael (PAR-ES)" userId="79615dfe-ed48-4e74-a40f-4f7b034c1c27" providerId="ADAL" clId="{9C3B3081-711B-47CA-B6D3-9CEBB9DB5DFD}" dt="2021-05-27T06:59:17.330" v="217"/>
          <ac:spMkLst>
            <pc:docMk/>
            <pc:sldMk cId="2316055797" sldId="360"/>
            <ac:spMk id="2" creationId="{A2DC317F-F1F4-4624-8FC1-3B68C1DBB3DA}"/>
          </ac:spMkLst>
        </pc:spChg>
        <pc:spChg chg="del">
          <ac:chgData name="Meyer Raphael (PAR-ES)" userId="79615dfe-ed48-4e74-a40f-4f7b034c1c27" providerId="ADAL" clId="{9C3B3081-711B-47CA-B6D3-9CEBB9DB5DFD}" dt="2021-05-27T06:59:00.588" v="215" actId="478"/>
          <ac:spMkLst>
            <pc:docMk/>
            <pc:sldMk cId="2316055797" sldId="360"/>
            <ac:spMk id="7" creationId="{BA3F9A72-0541-4D1F-8CD8-1C2B8074FA1B}"/>
          </ac:spMkLst>
        </pc:spChg>
        <pc:spChg chg="mod">
          <ac:chgData name="Meyer Raphael (PAR-ES)" userId="79615dfe-ed48-4e74-a40f-4f7b034c1c27" providerId="ADAL" clId="{9C3B3081-711B-47CA-B6D3-9CEBB9DB5DFD}" dt="2021-05-27T06:59:34.170" v="221"/>
          <ac:spMkLst>
            <pc:docMk/>
            <pc:sldMk cId="2316055797" sldId="360"/>
            <ac:spMk id="8" creationId="{5857C2A1-2CB8-4D4A-AEFD-E809BF73D04F}"/>
          </ac:spMkLst>
        </pc:spChg>
        <pc:spChg chg="del">
          <ac:chgData name="Meyer Raphael (PAR-ES)" userId="79615dfe-ed48-4e74-a40f-4f7b034c1c27" providerId="ADAL" clId="{9C3B3081-711B-47CA-B6D3-9CEBB9DB5DFD}" dt="2021-05-27T06:59:00.588" v="215" actId="478"/>
          <ac:spMkLst>
            <pc:docMk/>
            <pc:sldMk cId="2316055797" sldId="360"/>
            <ac:spMk id="9" creationId="{B6990B61-32B2-4ADC-BF01-EDF7B4080F97}"/>
          </ac:spMkLst>
        </pc:spChg>
        <pc:spChg chg="mod">
          <ac:chgData name="Meyer Raphael (PAR-ES)" userId="79615dfe-ed48-4e74-a40f-4f7b034c1c27" providerId="ADAL" clId="{9C3B3081-711B-47CA-B6D3-9CEBB9DB5DFD}" dt="2021-05-27T06:59:24.521" v="218"/>
          <ac:spMkLst>
            <pc:docMk/>
            <pc:sldMk cId="2316055797" sldId="360"/>
            <ac:spMk id="10" creationId="{077DFD58-E5EE-4B68-9325-D935DB04DD40}"/>
          </ac:spMkLst>
        </pc:spChg>
        <pc:spChg chg="del">
          <ac:chgData name="Meyer Raphael (PAR-ES)" userId="79615dfe-ed48-4e74-a40f-4f7b034c1c27" providerId="ADAL" clId="{9C3B3081-711B-47CA-B6D3-9CEBB9DB5DFD}" dt="2021-05-27T06:59:00.588" v="215" actId="478"/>
          <ac:spMkLst>
            <pc:docMk/>
            <pc:sldMk cId="2316055797" sldId="360"/>
            <ac:spMk id="17" creationId="{785E740C-F94A-4208-8DFD-63A603C16577}"/>
          </ac:spMkLst>
        </pc:spChg>
        <pc:spChg chg="add mod">
          <ac:chgData name="Meyer Raphael (PAR-ES)" userId="79615dfe-ed48-4e74-a40f-4f7b034c1c27" providerId="ADAL" clId="{9C3B3081-711B-47CA-B6D3-9CEBB9DB5DFD}" dt="2021-05-27T06:59:08.197" v="216"/>
          <ac:spMkLst>
            <pc:docMk/>
            <pc:sldMk cId="2316055797" sldId="360"/>
            <ac:spMk id="21" creationId="{305CE7A0-585D-4B94-B71B-7CB1CCDAB621}"/>
          </ac:spMkLst>
        </pc:spChg>
        <pc:spChg chg="add mod">
          <ac:chgData name="Meyer Raphael (PAR-ES)" userId="79615dfe-ed48-4e74-a40f-4f7b034c1c27" providerId="ADAL" clId="{9C3B3081-711B-47CA-B6D3-9CEBB9DB5DFD}" dt="2021-05-27T06:59:08.197" v="216"/>
          <ac:spMkLst>
            <pc:docMk/>
            <pc:sldMk cId="2316055797" sldId="360"/>
            <ac:spMk id="22" creationId="{A51D6DF2-55B9-4EEE-B3DF-83505D1EC6C0}"/>
          </ac:spMkLst>
        </pc:spChg>
        <pc:spChg chg="add mod">
          <ac:chgData name="Meyer Raphael (PAR-ES)" userId="79615dfe-ed48-4e74-a40f-4f7b034c1c27" providerId="ADAL" clId="{9C3B3081-711B-47CA-B6D3-9CEBB9DB5DFD}" dt="2021-05-27T06:59:08.197" v="216"/>
          <ac:spMkLst>
            <pc:docMk/>
            <pc:sldMk cId="2316055797" sldId="360"/>
            <ac:spMk id="23" creationId="{A3EF9284-5DC4-4DDF-BE7D-B40AB2256FE2}"/>
          </ac:spMkLst>
        </pc:spChg>
        <pc:spChg chg="add mod">
          <ac:chgData name="Meyer Raphael (PAR-ES)" userId="79615dfe-ed48-4e74-a40f-4f7b034c1c27" providerId="ADAL" clId="{9C3B3081-711B-47CA-B6D3-9CEBB9DB5DFD}" dt="2021-05-27T06:59:08.197" v="216"/>
          <ac:spMkLst>
            <pc:docMk/>
            <pc:sldMk cId="2316055797" sldId="360"/>
            <ac:spMk id="25" creationId="{E1CC4D16-4833-4590-ABC6-5BA7344E003B}"/>
          </ac:spMkLst>
        </pc:spChg>
        <pc:spChg chg="del">
          <ac:chgData name="Meyer Raphael (PAR-ES)" userId="79615dfe-ed48-4e74-a40f-4f7b034c1c27" providerId="ADAL" clId="{9C3B3081-711B-47CA-B6D3-9CEBB9DB5DFD}" dt="2021-05-27T06:59:00.588" v="215" actId="478"/>
          <ac:spMkLst>
            <pc:docMk/>
            <pc:sldMk cId="2316055797" sldId="360"/>
            <ac:spMk id="26" creationId="{BFD498B5-D73E-4C8A-9FAF-B3547647538C}"/>
          </ac:spMkLst>
        </pc:spChg>
        <pc:spChg chg="mod">
          <ac:chgData name="Meyer Raphael (PAR-ES)" userId="79615dfe-ed48-4e74-a40f-4f7b034c1c27" providerId="ADAL" clId="{9C3B3081-711B-47CA-B6D3-9CEBB9DB5DFD}" dt="2021-05-27T06:59:48.985" v="223" actId="14100"/>
          <ac:spMkLst>
            <pc:docMk/>
            <pc:sldMk cId="2316055797" sldId="360"/>
            <ac:spMk id="27" creationId="{46A6B042-39EE-4A58-BBAA-13D52264B660}"/>
          </ac:spMkLst>
        </pc:spChg>
      </pc:sldChg>
    </pc:docChg>
  </pc:docChgLst>
  <pc:docChgLst>
    <pc:chgData name="Meyer Raphael (PAR-ES)" userId="79615dfe-ed48-4e74-a40f-4f7b034c1c27" providerId="ADAL" clId="{03B58AC3-EEA0-4B80-B319-B65A39D0367A}"/>
    <pc:docChg chg="custSel delSld modSld">
      <pc:chgData name="Meyer Raphael (PAR-ES)" userId="79615dfe-ed48-4e74-a40f-4f7b034c1c27" providerId="ADAL" clId="{03B58AC3-EEA0-4B80-B319-B65A39D0367A}" dt="2021-06-14T08:15:01.320" v="32" actId="478"/>
      <pc:docMkLst>
        <pc:docMk/>
      </pc:docMkLst>
      <pc:sldChg chg="addSp delSp modSp mod">
        <pc:chgData name="Meyer Raphael (PAR-ES)" userId="79615dfe-ed48-4e74-a40f-4f7b034c1c27" providerId="ADAL" clId="{03B58AC3-EEA0-4B80-B319-B65A39D0367A}" dt="2021-06-14T08:15:01.320" v="32" actId="478"/>
        <pc:sldMkLst>
          <pc:docMk/>
          <pc:sldMk cId="1495152177" sldId="298"/>
        </pc:sldMkLst>
        <pc:cxnChg chg="add del mod">
          <ac:chgData name="Meyer Raphael (PAR-ES)" userId="79615dfe-ed48-4e74-a40f-4f7b034c1c27" providerId="ADAL" clId="{03B58AC3-EEA0-4B80-B319-B65A39D0367A}" dt="2021-06-14T08:15:01.320" v="32" actId="478"/>
          <ac:cxnSpMkLst>
            <pc:docMk/>
            <pc:sldMk cId="1495152177" sldId="298"/>
            <ac:cxnSpMk id="9" creationId="{3D0914DF-E02F-4F5D-9F2B-08EF642F8FBC}"/>
          </ac:cxnSpMkLst>
        </pc:cxnChg>
      </pc:sldChg>
      <pc:sldChg chg="del">
        <pc:chgData name="Meyer Raphael (PAR-ES)" userId="79615dfe-ed48-4e74-a40f-4f7b034c1c27" providerId="ADAL" clId="{03B58AC3-EEA0-4B80-B319-B65A39D0367A}" dt="2021-06-14T08:01:54.366" v="0" actId="47"/>
        <pc:sldMkLst>
          <pc:docMk/>
          <pc:sldMk cId="2817904021" sldId="319"/>
        </pc:sldMkLst>
      </pc:sldChg>
      <pc:sldChg chg="del">
        <pc:chgData name="Meyer Raphael (PAR-ES)" userId="79615dfe-ed48-4e74-a40f-4f7b034c1c27" providerId="ADAL" clId="{03B58AC3-EEA0-4B80-B319-B65A39D0367A}" dt="2021-06-14T08:05:10.770" v="3" actId="2696"/>
        <pc:sldMkLst>
          <pc:docMk/>
          <pc:sldMk cId="202659337" sldId="320"/>
        </pc:sldMkLst>
      </pc:sldChg>
      <pc:sldChg chg="modSp mod">
        <pc:chgData name="Meyer Raphael (PAR-ES)" userId="79615dfe-ed48-4e74-a40f-4f7b034c1c27" providerId="ADAL" clId="{03B58AC3-EEA0-4B80-B319-B65A39D0367A}" dt="2021-06-14T08:09:52.886" v="25" actId="20577"/>
        <pc:sldMkLst>
          <pc:docMk/>
          <pc:sldMk cId="1559304935" sldId="363"/>
        </pc:sldMkLst>
        <pc:spChg chg="mod">
          <ac:chgData name="Meyer Raphael (PAR-ES)" userId="79615dfe-ed48-4e74-a40f-4f7b034c1c27" providerId="ADAL" clId="{03B58AC3-EEA0-4B80-B319-B65A39D0367A}" dt="2021-06-14T08:09:52.886" v="25" actId="20577"/>
          <ac:spMkLst>
            <pc:docMk/>
            <pc:sldMk cId="1559304935" sldId="363"/>
            <ac:spMk id="7" creationId="{51421822-C303-4FC2-BF5E-F4377E568635}"/>
          </ac:spMkLst>
        </pc:spChg>
      </pc:sldChg>
      <pc:sldChg chg="modSp mod">
        <pc:chgData name="Meyer Raphael (PAR-ES)" userId="79615dfe-ed48-4e74-a40f-4f7b034c1c27" providerId="ADAL" clId="{03B58AC3-EEA0-4B80-B319-B65A39D0367A}" dt="2021-06-14T08:09:43.934" v="19" actId="20577"/>
        <pc:sldMkLst>
          <pc:docMk/>
          <pc:sldMk cId="2043265091" sldId="364"/>
        </pc:sldMkLst>
        <pc:spChg chg="mod">
          <ac:chgData name="Meyer Raphael (PAR-ES)" userId="79615dfe-ed48-4e74-a40f-4f7b034c1c27" providerId="ADAL" clId="{03B58AC3-EEA0-4B80-B319-B65A39D0367A}" dt="2021-06-14T08:04:26.604" v="1"/>
          <ac:spMkLst>
            <pc:docMk/>
            <pc:sldMk cId="2043265091" sldId="364"/>
            <ac:spMk id="2" creationId="{A2DC317F-F1F4-4624-8FC1-3B68C1DBB3DA}"/>
          </ac:spMkLst>
        </pc:spChg>
        <pc:spChg chg="mod">
          <ac:chgData name="Meyer Raphael (PAR-ES)" userId="79615dfe-ed48-4e74-a40f-4f7b034c1c27" providerId="ADAL" clId="{03B58AC3-EEA0-4B80-B319-B65A39D0367A}" dt="2021-06-14T08:09:31.781" v="13" actId="1076"/>
          <ac:spMkLst>
            <pc:docMk/>
            <pc:sldMk cId="2043265091" sldId="364"/>
            <ac:spMk id="6" creationId="{0EEE4EA3-E16E-424B-97F9-53A8F5D585AE}"/>
          </ac:spMkLst>
        </pc:spChg>
        <pc:spChg chg="mod">
          <ac:chgData name="Meyer Raphael (PAR-ES)" userId="79615dfe-ed48-4e74-a40f-4f7b034c1c27" providerId="ADAL" clId="{03B58AC3-EEA0-4B80-B319-B65A39D0367A}" dt="2021-06-14T08:09:43.934" v="19" actId="20577"/>
          <ac:spMkLst>
            <pc:docMk/>
            <pc:sldMk cId="2043265091" sldId="364"/>
            <ac:spMk id="7" creationId="{51421822-C303-4FC2-BF5E-F4377E568635}"/>
          </ac:spMkLst>
        </pc:spChg>
        <pc:spChg chg="mod">
          <ac:chgData name="Meyer Raphael (PAR-ES)" userId="79615dfe-ed48-4e74-a40f-4f7b034c1c27" providerId="ADAL" clId="{03B58AC3-EEA0-4B80-B319-B65A39D0367A}" dt="2021-06-14T08:04:34.562" v="2"/>
          <ac:spMkLst>
            <pc:docMk/>
            <pc:sldMk cId="2043265091" sldId="364"/>
            <ac:spMk id="10" creationId="{077DFD58-E5EE-4B68-9325-D935DB04DD40}"/>
          </ac:spMkLst>
        </pc:spChg>
      </pc:sldChg>
    </pc:docChg>
  </pc:docChgLst>
  <pc:docChgLst>
    <pc:chgData name="Meyer Raphael (PAR-ES)" userId="79615dfe-ed48-4e74-a40f-4f7b034c1c27" providerId="ADAL" clId="{EAA1A0B4-0AC9-439E-AF8B-B8D190C4CB46}"/>
    <pc:docChg chg="modSld">
      <pc:chgData name="Meyer Raphael (PAR-ES)" userId="79615dfe-ed48-4e74-a40f-4f7b034c1c27" providerId="ADAL" clId="{EAA1A0B4-0AC9-439E-AF8B-B8D190C4CB46}" dt="2021-05-28T12:30:01.979" v="43" actId="1037"/>
      <pc:docMkLst>
        <pc:docMk/>
      </pc:docMkLst>
      <pc:sldChg chg="modSp mod">
        <pc:chgData name="Meyer Raphael (PAR-ES)" userId="79615dfe-ed48-4e74-a40f-4f7b034c1c27" providerId="ADAL" clId="{EAA1A0B4-0AC9-439E-AF8B-B8D190C4CB46}" dt="2021-05-28T12:30:01.979" v="43" actId="1037"/>
        <pc:sldMkLst>
          <pc:docMk/>
          <pc:sldMk cId="1495152177" sldId="298"/>
        </pc:sldMkLst>
        <pc:spChg chg="mod">
          <ac:chgData name="Meyer Raphael (PAR-ES)" userId="79615dfe-ed48-4e74-a40f-4f7b034c1c27" providerId="ADAL" clId="{EAA1A0B4-0AC9-439E-AF8B-B8D190C4CB46}" dt="2021-05-28T12:30:01.979" v="43" actId="1037"/>
          <ac:spMkLst>
            <pc:docMk/>
            <pc:sldMk cId="1495152177" sldId="298"/>
            <ac:spMk id="12" creationId="{970D2C07-63A2-4265-B006-56F685FE80A5}"/>
          </ac:spMkLst>
        </pc:spChg>
        <pc:spChg chg="mod">
          <ac:chgData name="Meyer Raphael (PAR-ES)" userId="79615dfe-ed48-4e74-a40f-4f7b034c1c27" providerId="ADAL" clId="{EAA1A0B4-0AC9-439E-AF8B-B8D190C4CB46}" dt="2021-05-28T12:30:01.979" v="43" actId="1037"/>
          <ac:spMkLst>
            <pc:docMk/>
            <pc:sldMk cId="1495152177" sldId="298"/>
            <ac:spMk id="13" creationId="{93412675-62AA-41D8-997C-4E877ED953A8}"/>
          </ac:spMkLst>
        </pc:spChg>
        <pc:cxnChg chg="mod">
          <ac:chgData name="Meyer Raphael (PAR-ES)" userId="79615dfe-ed48-4e74-a40f-4f7b034c1c27" providerId="ADAL" clId="{EAA1A0B4-0AC9-439E-AF8B-B8D190C4CB46}" dt="2021-05-28T12:30:01.979" v="43" actId="1037"/>
          <ac:cxnSpMkLst>
            <pc:docMk/>
            <pc:sldMk cId="1495152177" sldId="298"/>
            <ac:cxnSpMk id="8" creationId="{6F3EB9D3-E612-42D9-859B-1905BD876C26}"/>
          </ac:cxnSpMkLst>
        </pc:cxnChg>
      </pc:sldChg>
    </pc:docChg>
  </pc:docChgLst>
  <pc:docChgLst>
    <pc:chgData name="Meyer Raphael (PAR-ES)" userId="79615dfe-ed48-4e74-a40f-4f7b034c1c27" providerId="ADAL" clId="{6DEBFCCA-05D0-4F82-BE10-06920730471D}"/>
    <pc:docChg chg="custSel addSld delSld modSld sldOrd">
      <pc:chgData name="Meyer Raphael (PAR-ES)" userId="79615dfe-ed48-4e74-a40f-4f7b034c1c27" providerId="ADAL" clId="{6DEBFCCA-05D0-4F82-BE10-06920730471D}" dt="2021-04-15T07:37:46.057" v="86" actId="47"/>
      <pc:docMkLst>
        <pc:docMk/>
      </pc:docMkLst>
      <pc:sldChg chg="modSp mod">
        <pc:chgData name="Meyer Raphael (PAR-ES)" userId="79615dfe-ed48-4e74-a40f-4f7b034c1c27" providerId="ADAL" clId="{6DEBFCCA-05D0-4F82-BE10-06920730471D}" dt="2021-04-15T07:32:45.364" v="59" actId="20577"/>
        <pc:sldMkLst>
          <pc:docMk/>
          <pc:sldMk cId="1667945532" sldId="306"/>
        </pc:sldMkLst>
        <pc:spChg chg="mod">
          <ac:chgData name="Meyer Raphael (PAR-ES)" userId="79615dfe-ed48-4e74-a40f-4f7b034c1c27" providerId="ADAL" clId="{6DEBFCCA-05D0-4F82-BE10-06920730471D}" dt="2021-04-15T07:27:57.561" v="3" actId="20577"/>
          <ac:spMkLst>
            <pc:docMk/>
            <pc:sldMk cId="1667945532" sldId="306"/>
            <ac:spMk id="8" creationId="{5857C2A1-2CB8-4D4A-AEFD-E809BF73D04F}"/>
          </ac:spMkLst>
        </pc:spChg>
        <pc:spChg chg="mod">
          <ac:chgData name="Meyer Raphael (PAR-ES)" userId="79615dfe-ed48-4e74-a40f-4f7b034c1c27" providerId="ADAL" clId="{6DEBFCCA-05D0-4F82-BE10-06920730471D}" dt="2021-04-15T07:32:29.106" v="51" actId="20577"/>
          <ac:spMkLst>
            <pc:docMk/>
            <pc:sldMk cId="1667945532" sldId="306"/>
            <ac:spMk id="27" creationId="{46A6B042-39EE-4A58-BBAA-13D52264B660}"/>
          </ac:spMkLst>
        </pc:spChg>
        <pc:spChg chg="mod">
          <ac:chgData name="Meyer Raphael (PAR-ES)" userId="79615dfe-ed48-4e74-a40f-4f7b034c1c27" providerId="ADAL" clId="{6DEBFCCA-05D0-4F82-BE10-06920730471D}" dt="2021-04-15T07:32:00.350" v="45" actId="1076"/>
          <ac:spMkLst>
            <pc:docMk/>
            <pc:sldMk cId="1667945532" sldId="306"/>
            <ac:spMk id="28" creationId="{4492A3CD-6943-423D-BFEC-8129889E8B6F}"/>
          </ac:spMkLst>
        </pc:spChg>
        <pc:spChg chg="mod">
          <ac:chgData name="Meyer Raphael (PAR-ES)" userId="79615dfe-ed48-4e74-a40f-4f7b034c1c27" providerId="ADAL" clId="{6DEBFCCA-05D0-4F82-BE10-06920730471D}" dt="2021-04-15T07:32:45.364" v="59" actId="20577"/>
          <ac:spMkLst>
            <pc:docMk/>
            <pc:sldMk cId="1667945532" sldId="306"/>
            <ac:spMk id="31" creationId="{7491A47D-CAD4-478D-8F3A-296FFCB799F9}"/>
          </ac:spMkLst>
        </pc:spChg>
        <pc:spChg chg="mod">
          <ac:chgData name="Meyer Raphael (PAR-ES)" userId="79615dfe-ed48-4e74-a40f-4f7b034c1c27" providerId="ADAL" clId="{6DEBFCCA-05D0-4F82-BE10-06920730471D}" dt="2021-04-15T07:32:06.981" v="47" actId="1076"/>
          <ac:spMkLst>
            <pc:docMk/>
            <pc:sldMk cId="1667945532" sldId="306"/>
            <ac:spMk id="32" creationId="{E65DDA4F-7190-4D5B-B875-6818D18C9F6E}"/>
          </ac:spMkLst>
        </pc:spChg>
      </pc:sldChg>
      <pc:sldChg chg="del">
        <pc:chgData name="Meyer Raphael (PAR-ES)" userId="79615dfe-ed48-4e74-a40f-4f7b034c1c27" providerId="ADAL" clId="{6DEBFCCA-05D0-4F82-BE10-06920730471D}" dt="2021-04-15T07:34:47.950" v="73" actId="47"/>
        <pc:sldMkLst>
          <pc:docMk/>
          <pc:sldMk cId="2164349284" sldId="344"/>
        </pc:sldMkLst>
      </pc:sldChg>
      <pc:sldChg chg="modSp del">
        <pc:chgData name="Meyer Raphael (PAR-ES)" userId="79615dfe-ed48-4e74-a40f-4f7b034c1c27" providerId="ADAL" clId="{6DEBFCCA-05D0-4F82-BE10-06920730471D}" dt="2021-04-15T07:37:46.057" v="86" actId="47"/>
        <pc:sldMkLst>
          <pc:docMk/>
          <pc:sldMk cId="2994949244" sldId="345"/>
        </pc:sldMkLst>
        <pc:spChg chg="mod">
          <ac:chgData name="Meyer Raphael (PAR-ES)" userId="79615dfe-ed48-4e74-a40f-4f7b034c1c27" providerId="ADAL" clId="{6DEBFCCA-05D0-4F82-BE10-06920730471D}" dt="2021-04-15T07:36:24.816" v="80"/>
          <ac:spMkLst>
            <pc:docMk/>
            <pc:sldMk cId="2994949244" sldId="345"/>
            <ac:spMk id="10" creationId="{077DFD58-E5EE-4B68-9325-D935DB04DD40}"/>
          </ac:spMkLst>
        </pc:spChg>
      </pc:sldChg>
      <pc:sldChg chg="del mod">
        <pc:chgData name="Meyer Raphael (PAR-ES)" userId="79615dfe-ed48-4e74-a40f-4f7b034c1c27" providerId="ADAL" clId="{6DEBFCCA-05D0-4F82-BE10-06920730471D}" dt="2021-04-15T07:28:11.029" v="6" actId="47"/>
        <pc:sldMkLst>
          <pc:docMk/>
          <pc:sldMk cId="586406932" sldId="346"/>
        </pc:sldMkLst>
      </pc:sldChg>
      <pc:sldChg chg="addSp delSp modSp add mod ord">
        <pc:chgData name="Meyer Raphael (PAR-ES)" userId="79615dfe-ed48-4e74-a40f-4f7b034c1c27" providerId="ADAL" clId="{6DEBFCCA-05D0-4F82-BE10-06920730471D}" dt="2021-04-15T07:34:21.687" v="72"/>
        <pc:sldMkLst>
          <pc:docMk/>
          <pc:sldMk cId="3784104885" sldId="346"/>
        </pc:sldMkLst>
        <pc:spChg chg="mod">
          <ac:chgData name="Meyer Raphael (PAR-ES)" userId="79615dfe-ed48-4e74-a40f-4f7b034c1c27" providerId="ADAL" clId="{6DEBFCCA-05D0-4F82-BE10-06920730471D}" dt="2021-04-15T07:33:45.670" v="68"/>
          <ac:spMkLst>
            <pc:docMk/>
            <pc:sldMk cId="3784104885" sldId="346"/>
            <ac:spMk id="2" creationId="{A2DC317F-F1F4-4624-8FC1-3B68C1DBB3DA}"/>
          </ac:spMkLst>
        </pc:spChg>
        <pc:spChg chg="del">
          <ac:chgData name="Meyer Raphael (PAR-ES)" userId="79615dfe-ed48-4e74-a40f-4f7b034c1c27" providerId="ADAL" clId="{6DEBFCCA-05D0-4F82-BE10-06920730471D}" dt="2021-04-15T07:33:19.504" v="66" actId="478"/>
          <ac:spMkLst>
            <pc:docMk/>
            <pc:sldMk cId="3784104885" sldId="346"/>
            <ac:spMk id="7" creationId="{BA3F9A72-0541-4D1F-8CD8-1C2B8074FA1B}"/>
          </ac:spMkLst>
        </pc:spChg>
        <pc:spChg chg="mod">
          <ac:chgData name="Meyer Raphael (PAR-ES)" userId="79615dfe-ed48-4e74-a40f-4f7b034c1c27" providerId="ADAL" clId="{6DEBFCCA-05D0-4F82-BE10-06920730471D}" dt="2021-04-15T07:34:12.033" v="71" actId="14100"/>
          <ac:spMkLst>
            <pc:docMk/>
            <pc:sldMk cId="3784104885" sldId="346"/>
            <ac:spMk id="8" creationId="{5857C2A1-2CB8-4D4A-AEFD-E809BF73D04F}"/>
          </ac:spMkLst>
        </pc:spChg>
        <pc:spChg chg="del">
          <ac:chgData name="Meyer Raphael (PAR-ES)" userId="79615dfe-ed48-4e74-a40f-4f7b034c1c27" providerId="ADAL" clId="{6DEBFCCA-05D0-4F82-BE10-06920730471D}" dt="2021-04-15T07:33:19.504" v="66" actId="478"/>
          <ac:spMkLst>
            <pc:docMk/>
            <pc:sldMk cId="3784104885" sldId="346"/>
            <ac:spMk id="9" creationId="{B6990B61-32B2-4ADC-BF01-EDF7B4080F97}"/>
          </ac:spMkLst>
        </pc:spChg>
        <pc:spChg chg="mod">
          <ac:chgData name="Meyer Raphael (PAR-ES)" userId="79615dfe-ed48-4e74-a40f-4f7b034c1c27" providerId="ADAL" clId="{6DEBFCCA-05D0-4F82-BE10-06920730471D}" dt="2021-04-15T07:33:55.542" v="69"/>
          <ac:spMkLst>
            <pc:docMk/>
            <pc:sldMk cId="3784104885" sldId="346"/>
            <ac:spMk id="10" creationId="{077DFD58-E5EE-4B68-9325-D935DB04DD40}"/>
          </ac:spMkLst>
        </pc:spChg>
        <pc:spChg chg="del">
          <ac:chgData name="Meyer Raphael (PAR-ES)" userId="79615dfe-ed48-4e74-a40f-4f7b034c1c27" providerId="ADAL" clId="{6DEBFCCA-05D0-4F82-BE10-06920730471D}" dt="2021-04-15T07:33:19.504" v="66" actId="478"/>
          <ac:spMkLst>
            <pc:docMk/>
            <pc:sldMk cId="3784104885" sldId="346"/>
            <ac:spMk id="17" creationId="{785E740C-F94A-4208-8DFD-63A603C16577}"/>
          </ac:spMkLst>
        </pc:spChg>
        <pc:spChg chg="add mod">
          <ac:chgData name="Meyer Raphael (PAR-ES)" userId="79615dfe-ed48-4e74-a40f-4f7b034c1c27" providerId="ADAL" clId="{6DEBFCCA-05D0-4F82-BE10-06920730471D}" dt="2021-04-15T07:33:36.815" v="67"/>
          <ac:spMkLst>
            <pc:docMk/>
            <pc:sldMk cId="3784104885" sldId="346"/>
            <ac:spMk id="21" creationId="{B3348783-C2A3-4CDA-A666-6E1A00E63A0B}"/>
          </ac:spMkLst>
        </pc:spChg>
        <pc:spChg chg="add mod">
          <ac:chgData name="Meyer Raphael (PAR-ES)" userId="79615dfe-ed48-4e74-a40f-4f7b034c1c27" providerId="ADAL" clId="{6DEBFCCA-05D0-4F82-BE10-06920730471D}" dt="2021-04-15T07:33:36.815" v="67"/>
          <ac:spMkLst>
            <pc:docMk/>
            <pc:sldMk cId="3784104885" sldId="346"/>
            <ac:spMk id="22" creationId="{23343D9A-9EA2-4CF4-AF00-C15C92DD69D5}"/>
          </ac:spMkLst>
        </pc:spChg>
        <pc:spChg chg="add mod">
          <ac:chgData name="Meyer Raphael (PAR-ES)" userId="79615dfe-ed48-4e74-a40f-4f7b034c1c27" providerId="ADAL" clId="{6DEBFCCA-05D0-4F82-BE10-06920730471D}" dt="2021-04-15T07:33:36.815" v="67"/>
          <ac:spMkLst>
            <pc:docMk/>
            <pc:sldMk cId="3784104885" sldId="346"/>
            <ac:spMk id="23" creationId="{36EF9DB8-EC1B-44EA-B107-5E0BEDAD9FA1}"/>
          </ac:spMkLst>
        </pc:spChg>
        <pc:spChg chg="add mod">
          <ac:chgData name="Meyer Raphael (PAR-ES)" userId="79615dfe-ed48-4e74-a40f-4f7b034c1c27" providerId="ADAL" clId="{6DEBFCCA-05D0-4F82-BE10-06920730471D}" dt="2021-04-15T07:33:36.815" v="67"/>
          <ac:spMkLst>
            <pc:docMk/>
            <pc:sldMk cId="3784104885" sldId="346"/>
            <ac:spMk id="25" creationId="{CD872F77-2E1A-4EA7-B6C2-6C90748B8F46}"/>
          </ac:spMkLst>
        </pc:spChg>
        <pc:spChg chg="del">
          <ac:chgData name="Meyer Raphael (PAR-ES)" userId="79615dfe-ed48-4e74-a40f-4f7b034c1c27" providerId="ADAL" clId="{6DEBFCCA-05D0-4F82-BE10-06920730471D}" dt="2021-04-15T07:33:19.504" v="66" actId="478"/>
          <ac:spMkLst>
            <pc:docMk/>
            <pc:sldMk cId="3784104885" sldId="346"/>
            <ac:spMk id="26" creationId="{BFD498B5-D73E-4C8A-9FAF-B3547647538C}"/>
          </ac:spMkLst>
        </pc:spChg>
        <pc:spChg chg="mod">
          <ac:chgData name="Meyer Raphael (PAR-ES)" userId="79615dfe-ed48-4e74-a40f-4f7b034c1c27" providerId="ADAL" clId="{6DEBFCCA-05D0-4F82-BE10-06920730471D}" dt="2021-04-15T07:34:21.687" v="72"/>
          <ac:spMkLst>
            <pc:docMk/>
            <pc:sldMk cId="3784104885" sldId="346"/>
            <ac:spMk id="27" creationId="{46A6B042-39EE-4A58-BBAA-13D52264B660}"/>
          </ac:spMkLst>
        </pc:spChg>
      </pc:sldChg>
      <pc:sldChg chg="addSp delSp modSp add mod ord">
        <pc:chgData name="Meyer Raphael (PAR-ES)" userId="79615dfe-ed48-4e74-a40f-4f7b034c1c27" providerId="ADAL" clId="{6DEBFCCA-05D0-4F82-BE10-06920730471D}" dt="2021-04-15T07:37:15.896" v="85" actId="14100"/>
        <pc:sldMkLst>
          <pc:docMk/>
          <pc:sldMk cId="502819407" sldId="347"/>
        </pc:sldMkLst>
        <pc:spChg chg="mod">
          <ac:chgData name="Meyer Raphael (PAR-ES)" userId="79615dfe-ed48-4e74-a40f-4f7b034c1c27" providerId="ADAL" clId="{6DEBFCCA-05D0-4F82-BE10-06920730471D}" dt="2021-04-15T07:35:30.837" v="77"/>
          <ac:spMkLst>
            <pc:docMk/>
            <pc:sldMk cId="502819407" sldId="347"/>
            <ac:spMk id="2" creationId="{A2DC317F-F1F4-4624-8FC1-3B68C1DBB3DA}"/>
          </ac:spMkLst>
        </pc:spChg>
        <pc:spChg chg="del mod">
          <ac:chgData name="Meyer Raphael (PAR-ES)" userId="79615dfe-ed48-4e74-a40f-4f7b034c1c27" providerId="ADAL" clId="{6DEBFCCA-05D0-4F82-BE10-06920730471D}" dt="2021-04-15T07:35:00.196" v="75" actId="478"/>
          <ac:spMkLst>
            <pc:docMk/>
            <pc:sldMk cId="502819407" sldId="347"/>
            <ac:spMk id="7" creationId="{BA3F9A72-0541-4D1F-8CD8-1C2B8074FA1B}"/>
          </ac:spMkLst>
        </pc:spChg>
        <pc:spChg chg="mod">
          <ac:chgData name="Meyer Raphael (PAR-ES)" userId="79615dfe-ed48-4e74-a40f-4f7b034c1c27" providerId="ADAL" clId="{6DEBFCCA-05D0-4F82-BE10-06920730471D}" dt="2021-04-15T07:36:58.883" v="83" actId="14100"/>
          <ac:spMkLst>
            <pc:docMk/>
            <pc:sldMk cId="502819407" sldId="347"/>
            <ac:spMk id="8" creationId="{5857C2A1-2CB8-4D4A-AEFD-E809BF73D04F}"/>
          </ac:spMkLst>
        </pc:spChg>
        <pc:spChg chg="del">
          <ac:chgData name="Meyer Raphael (PAR-ES)" userId="79615dfe-ed48-4e74-a40f-4f7b034c1c27" providerId="ADAL" clId="{6DEBFCCA-05D0-4F82-BE10-06920730471D}" dt="2021-04-15T07:35:00.196" v="75" actId="478"/>
          <ac:spMkLst>
            <pc:docMk/>
            <pc:sldMk cId="502819407" sldId="347"/>
            <ac:spMk id="9" creationId="{B6990B61-32B2-4ADC-BF01-EDF7B4080F97}"/>
          </ac:spMkLst>
        </pc:spChg>
        <pc:spChg chg="mod">
          <ac:chgData name="Meyer Raphael (PAR-ES)" userId="79615dfe-ed48-4e74-a40f-4f7b034c1c27" providerId="ADAL" clId="{6DEBFCCA-05D0-4F82-BE10-06920730471D}" dt="2021-04-15T07:36:32.510" v="81"/>
          <ac:spMkLst>
            <pc:docMk/>
            <pc:sldMk cId="502819407" sldId="347"/>
            <ac:spMk id="10" creationId="{077DFD58-E5EE-4B68-9325-D935DB04DD40}"/>
          </ac:spMkLst>
        </pc:spChg>
        <pc:spChg chg="del">
          <ac:chgData name="Meyer Raphael (PAR-ES)" userId="79615dfe-ed48-4e74-a40f-4f7b034c1c27" providerId="ADAL" clId="{6DEBFCCA-05D0-4F82-BE10-06920730471D}" dt="2021-04-15T07:35:00.196" v="75" actId="478"/>
          <ac:spMkLst>
            <pc:docMk/>
            <pc:sldMk cId="502819407" sldId="347"/>
            <ac:spMk id="17" creationId="{785E740C-F94A-4208-8DFD-63A603C16577}"/>
          </ac:spMkLst>
        </pc:spChg>
        <pc:spChg chg="add mod">
          <ac:chgData name="Meyer Raphael (PAR-ES)" userId="79615dfe-ed48-4e74-a40f-4f7b034c1c27" providerId="ADAL" clId="{6DEBFCCA-05D0-4F82-BE10-06920730471D}" dt="2021-04-15T07:35:20.299" v="76"/>
          <ac:spMkLst>
            <pc:docMk/>
            <pc:sldMk cId="502819407" sldId="347"/>
            <ac:spMk id="21" creationId="{82E3811D-C7D4-49B1-8DD1-508B7BA22274}"/>
          </ac:spMkLst>
        </pc:spChg>
        <pc:spChg chg="add mod">
          <ac:chgData name="Meyer Raphael (PAR-ES)" userId="79615dfe-ed48-4e74-a40f-4f7b034c1c27" providerId="ADAL" clId="{6DEBFCCA-05D0-4F82-BE10-06920730471D}" dt="2021-04-15T07:35:20.299" v="76"/>
          <ac:spMkLst>
            <pc:docMk/>
            <pc:sldMk cId="502819407" sldId="347"/>
            <ac:spMk id="22" creationId="{8388360A-31D4-4BF2-A7AC-4BF71303E34C}"/>
          </ac:spMkLst>
        </pc:spChg>
        <pc:spChg chg="add mod">
          <ac:chgData name="Meyer Raphael (PAR-ES)" userId="79615dfe-ed48-4e74-a40f-4f7b034c1c27" providerId="ADAL" clId="{6DEBFCCA-05D0-4F82-BE10-06920730471D}" dt="2021-04-15T07:35:20.299" v="76"/>
          <ac:spMkLst>
            <pc:docMk/>
            <pc:sldMk cId="502819407" sldId="347"/>
            <ac:spMk id="23" creationId="{029F0FE2-A4C6-4D1B-96E5-87866EDC62C6}"/>
          </ac:spMkLst>
        </pc:spChg>
        <pc:spChg chg="add mod">
          <ac:chgData name="Meyer Raphael (PAR-ES)" userId="79615dfe-ed48-4e74-a40f-4f7b034c1c27" providerId="ADAL" clId="{6DEBFCCA-05D0-4F82-BE10-06920730471D}" dt="2021-04-15T07:35:20.299" v="76"/>
          <ac:spMkLst>
            <pc:docMk/>
            <pc:sldMk cId="502819407" sldId="347"/>
            <ac:spMk id="25" creationId="{CA73F05F-C635-4A84-9267-D4BE4D0AE82C}"/>
          </ac:spMkLst>
        </pc:spChg>
        <pc:spChg chg="del">
          <ac:chgData name="Meyer Raphael (PAR-ES)" userId="79615dfe-ed48-4e74-a40f-4f7b034c1c27" providerId="ADAL" clId="{6DEBFCCA-05D0-4F82-BE10-06920730471D}" dt="2021-04-15T07:35:00.196" v="75" actId="478"/>
          <ac:spMkLst>
            <pc:docMk/>
            <pc:sldMk cId="502819407" sldId="347"/>
            <ac:spMk id="26" creationId="{BFD498B5-D73E-4C8A-9FAF-B3547647538C}"/>
          </ac:spMkLst>
        </pc:spChg>
        <pc:spChg chg="mod">
          <ac:chgData name="Meyer Raphael (PAR-ES)" userId="79615dfe-ed48-4e74-a40f-4f7b034c1c27" providerId="ADAL" clId="{6DEBFCCA-05D0-4F82-BE10-06920730471D}" dt="2021-04-15T07:37:15.896" v="85" actId="14100"/>
          <ac:spMkLst>
            <pc:docMk/>
            <pc:sldMk cId="502819407" sldId="347"/>
            <ac:spMk id="27" creationId="{46A6B042-39EE-4A58-BBAA-13D52264B660}"/>
          </ac:spMkLst>
        </pc:spChg>
      </pc:sldChg>
      <pc:sldChg chg="del">
        <pc:chgData name="Meyer Raphael (PAR-ES)" userId="79615dfe-ed48-4e74-a40f-4f7b034c1c27" providerId="ADAL" clId="{6DEBFCCA-05D0-4F82-BE10-06920730471D}" dt="2021-04-15T07:28:11.029" v="6" actId="47"/>
        <pc:sldMkLst>
          <pc:docMk/>
          <pc:sldMk cId="3321596445" sldId="347"/>
        </pc:sldMkLst>
      </pc:sldChg>
      <pc:sldChg chg="del">
        <pc:chgData name="Meyer Raphael (PAR-ES)" userId="79615dfe-ed48-4e74-a40f-4f7b034c1c27" providerId="ADAL" clId="{6DEBFCCA-05D0-4F82-BE10-06920730471D}" dt="2021-04-15T07:28:11.029" v="6" actId="47"/>
        <pc:sldMkLst>
          <pc:docMk/>
          <pc:sldMk cId="3052738061" sldId="348"/>
        </pc:sldMkLst>
      </pc:sldChg>
    </pc:docChg>
  </pc:docChgLst>
  <pc:docChgLst>
    <pc:chgData name="Meyer Raphael (PAR-ES)" userId="79615dfe-ed48-4e74-a40f-4f7b034c1c27" providerId="ADAL" clId="{6CBE310B-8AD8-4E27-BE2B-82789F9F801F}"/>
    <pc:docChg chg="undo custSel addSld delSld modSld sldOrd">
      <pc:chgData name="Meyer Raphael (PAR-ES)" userId="79615dfe-ed48-4e74-a40f-4f7b034c1c27" providerId="ADAL" clId="{6CBE310B-8AD8-4E27-BE2B-82789F9F801F}" dt="2021-02-25T08:18:46.817" v="126" actId="2696"/>
      <pc:docMkLst>
        <pc:docMk/>
      </pc:docMkLst>
      <pc:sldChg chg="delSp modSp mod">
        <pc:chgData name="Meyer Raphael (PAR-ES)" userId="79615dfe-ed48-4e74-a40f-4f7b034c1c27" providerId="ADAL" clId="{6CBE310B-8AD8-4E27-BE2B-82789F9F801F}" dt="2021-02-25T08:14:28.668" v="102" actId="1038"/>
        <pc:sldMkLst>
          <pc:docMk/>
          <pc:sldMk cId="1667945532" sldId="306"/>
        </pc:sldMkLst>
        <pc:spChg chg="mod">
          <ac:chgData name="Meyer Raphael (PAR-ES)" userId="79615dfe-ed48-4e74-a40f-4f7b034c1c27" providerId="ADAL" clId="{6CBE310B-8AD8-4E27-BE2B-82789F9F801F}" dt="2021-02-25T07:48:08.820" v="1" actId="20577"/>
          <ac:spMkLst>
            <pc:docMk/>
            <pc:sldMk cId="1667945532" sldId="306"/>
            <ac:spMk id="8" creationId="{5857C2A1-2CB8-4D4A-AEFD-E809BF73D04F}"/>
          </ac:spMkLst>
        </pc:spChg>
        <pc:spChg chg="mod">
          <ac:chgData name="Meyer Raphael (PAR-ES)" userId="79615dfe-ed48-4e74-a40f-4f7b034c1c27" providerId="ADAL" clId="{6CBE310B-8AD8-4E27-BE2B-82789F9F801F}" dt="2021-02-25T07:48:46.976" v="11" actId="20577"/>
          <ac:spMkLst>
            <pc:docMk/>
            <pc:sldMk cId="1667945532" sldId="306"/>
            <ac:spMk id="27" creationId="{46A6B042-39EE-4A58-BBAA-13D52264B660}"/>
          </ac:spMkLst>
        </pc:spChg>
        <pc:spChg chg="mod">
          <ac:chgData name="Meyer Raphael (PAR-ES)" userId="79615dfe-ed48-4e74-a40f-4f7b034c1c27" providerId="ADAL" clId="{6CBE310B-8AD8-4E27-BE2B-82789F9F801F}" dt="2021-02-25T07:54:24.328" v="53" actId="1076"/>
          <ac:spMkLst>
            <pc:docMk/>
            <pc:sldMk cId="1667945532" sldId="306"/>
            <ac:spMk id="28" creationId="{4492A3CD-6943-423D-BFEC-8129889E8B6F}"/>
          </ac:spMkLst>
        </pc:spChg>
        <pc:spChg chg="mod">
          <ac:chgData name="Meyer Raphael (PAR-ES)" userId="79615dfe-ed48-4e74-a40f-4f7b034c1c27" providerId="ADAL" clId="{6CBE310B-8AD8-4E27-BE2B-82789F9F801F}" dt="2021-02-25T07:49:12.400" v="15" actId="20577"/>
          <ac:spMkLst>
            <pc:docMk/>
            <pc:sldMk cId="1667945532" sldId="306"/>
            <ac:spMk id="31" creationId="{7491A47D-CAD4-478D-8F3A-296FFCB799F9}"/>
          </ac:spMkLst>
        </pc:spChg>
        <pc:spChg chg="mod">
          <ac:chgData name="Meyer Raphael (PAR-ES)" userId="79615dfe-ed48-4e74-a40f-4f7b034c1c27" providerId="ADAL" clId="{6CBE310B-8AD8-4E27-BE2B-82789F9F801F}" dt="2021-02-25T07:51:57.390" v="34" actId="1076"/>
          <ac:spMkLst>
            <pc:docMk/>
            <pc:sldMk cId="1667945532" sldId="306"/>
            <ac:spMk id="32" creationId="{E65DDA4F-7190-4D5B-B875-6818D18C9F6E}"/>
          </ac:spMkLst>
        </pc:spChg>
        <pc:spChg chg="del">
          <ac:chgData name="Meyer Raphael (PAR-ES)" userId="79615dfe-ed48-4e74-a40f-4f7b034c1c27" providerId="ADAL" clId="{6CBE310B-8AD8-4E27-BE2B-82789F9F801F}" dt="2021-02-25T08:12:39.627" v="79" actId="478"/>
          <ac:spMkLst>
            <pc:docMk/>
            <pc:sldMk cId="1667945532" sldId="306"/>
            <ac:spMk id="33" creationId="{9EBB3871-416B-408E-B57A-A89D014D2D8E}"/>
          </ac:spMkLst>
        </pc:spChg>
        <pc:spChg chg="del mod">
          <ac:chgData name="Meyer Raphael (PAR-ES)" userId="79615dfe-ed48-4e74-a40f-4f7b034c1c27" providerId="ADAL" clId="{6CBE310B-8AD8-4E27-BE2B-82789F9F801F}" dt="2021-02-25T08:10:14.103" v="78" actId="478"/>
          <ac:spMkLst>
            <pc:docMk/>
            <pc:sldMk cId="1667945532" sldId="306"/>
            <ac:spMk id="37" creationId="{16628D91-C37D-41C8-A84A-DDEB3E2C1246}"/>
          </ac:spMkLst>
        </pc:spChg>
        <pc:graphicFrameChg chg="mod">
          <ac:chgData name="Meyer Raphael (PAR-ES)" userId="79615dfe-ed48-4e74-a40f-4f7b034c1c27" providerId="ADAL" clId="{6CBE310B-8AD8-4E27-BE2B-82789F9F801F}" dt="2021-02-25T08:03:18.828" v="75" actId="692"/>
          <ac:graphicFrameMkLst>
            <pc:docMk/>
            <pc:sldMk cId="1667945532" sldId="306"/>
            <ac:graphicFrameMk id="5" creationId="{4CF6AB8B-CAB9-4C7E-8E59-E00357A4D7F0}"/>
          </ac:graphicFrameMkLst>
        </pc:graphicFrameChg>
        <pc:graphicFrameChg chg="mod">
          <ac:chgData name="Meyer Raphael (PAR-ES)" userId="79615dfe-ed48-4e74-a40f-4f7b034c1c27" providerId="ADAL" clId="{6CBE310B-8AD8-4E27-BE2B-82789F9F801F}" dt="2021-02-25T07:58:00.368" v="72"/>
          <ac:graphicFrameMkLst>
            <pc:docMk/>
            <pc:sldMk cId="1667945532" sldId="306"/>
            <ac:graphicFrameMk id="24" creationId="{B6049B58-D743-4BF8-ADBD-2CBD12961E56}"/>
          </ac:graphicFrameMkLst>
        </pc:graphicFrameChg>
        <pc:cxnChg chg="mod">
          <ac:chgData name="Meyer Raphael (PAR-ES)" userId="79615dfe-ed48-4e74-a40f-4f7b034c1c27" providerId="ADAL" clId="{6CBE310B-8AD8-4E27-BE2B-82789F9F801F}" dt="2021-02-25T08:14:28.668" v="102" actId="1038"/>
          <ac:cxnSpMkLst>
            <pc:docMk/>
            <pc:sldMk cId="1667945532" sldId="306"/>
            <ac:cxnSpMk id="20" creationId="{07FCC63F-5E2F-43DF-84ED-5FFEC92A0042}"/>
          </ac:cxnSpMkLst>
        </pc:cxnChg>
        <pc:cxnChg chg="mod">
          <ac:chgData name="Meyer Raphael (PAR-ES)" userId="79615dfe-ed48-4e74-a40f-4f7b034c1c27" providerId="ADAL" clId="{6CBE310B-8AD8-4E27-BE2B-82789F9F801F}" dt="2021-02-25T08:13:35.433" v="96" actId="1038"/>
          <ac:cxnSpMkLst>
            <pc:docMk/>
            <pc:sldMk cId="1667945532" sldId="306"/>
            <ac:cxnSpMk id="30" creationId="{1D702FCA-793F-404B-84D5-F14C318BFFB3}"/>
          </ac:cxnSpMkLst>
        </pc:cxnChg>
      </pc:sldChg>
      <pc:sldChg chg="modSp">
        <pc:chgData name="Meyer Raphael (PAR-ES)" userId="79615dfe-ed48-4e74-a40f-4f7b034c1c27" providerId="ADAL" clId="{6CBE310B-8AD8-4E27-BE2B-82789F9F801F}" dt="2021-02-25T08:08:52.754" v="76" actId="692"/>
        <pc:sldMkLst>
          <pc:docMk/>
          <pc:sldMk cId="277025245" sldId="325"/>
        </pc:sldMkLst>
        <pc:graphicFrameChg chg="mod">
          <ac:chgData name="Meyer Raphael (PAR-ES)" userId="79615dfe-ed48-4e74-a40f-4f7b034c1c27" providerId="ADAL" clId="{6CBE310B-8AD8-4E27-BE2B-82789F9F801F}" dt="2021-02-25T08:08:52.754" v="76" actId="692"/>
          <ac:graphicFrameMkLst>
            <pc:docMk/>
            <pc:sldMk cId="277025245" sldId="325"/>
            <ac:graphicFrameMk id="5" creationId="{4CF6AB8B-CAB9-4C7E-8E59-E00357A4D7F0}"/>
          </ac:graphicFrameMkLst>
        </pc:graphicFrameChg>
      </pc:sldChg>
      <pc:sldChg chg="del">
        <pc:chgData name="Meyer Raphael (PAR-ES)" userId="79615dfe-ed48-4e74-a40f-4f7b034c1c27" providerId="ADAL" clId="{6CBE310B-8AD8-4E27-BE2B-82789F9F801F}" dt="2021-02-25T08:18:46.817" v="126" actId="2696"/>
        <pc:sldMkLst>
          <pc:docMk/>
          <pc:sldMk cId="1861201491" sldId="330"/>
        </pc:sldMkLst>
      </pc:sldChg>
      <pc:sldChg chg="add del">
        <pc:chgData name="Meyer Raphael (PAR-ES)" userId="79615dfe-ed48-4e74-a40f-4f7b034c1c27" providerId="ADAL" clId="{6CBE310B-8AD8-4E27-BE2B-82789F9F801F}" dt="2021-02-25T08:16:31.832" v="116" actId="2696"/>
        <pc:sldMkLst>
          <pc:docMk/>
          <pc:sldMk cId="1241728994" sldId="331"/>
        </pc:sldMkLst>
      </pc:sldChg>
      <pc:sldChg chg="addSp delSp modSp add ord">
        <pc:chgData name="Meyer Raphael (PAR-ES)" userId="79615dfe-ed48-4e74-a40f-4f7b034c1c27" providerId="ADAL" clId="{6CBE310B-8AD8-4E27-BE2B-82789F9F801F}" dt="2021-02-25T08:16:16.378" v="115"/>
        <pc:sldMkLst>
          <pc:docMk/>
          <pc:sldMk cId="423704220" sldId="332"/>
        </pc:sldMkLst>
        <pc:spChg chg="mod">
          <ac:chgData name="Meyer Raphael (PAR-ES)" userId="79615dfe-ed48-4e74-a40f-4f7b034c1c27" providerId="ADAL" clId="{6CBE310B-8AD8-4E27-BE2B-82789F9F801F}" dt="2021-02-25T08:15:33.131" v="111"/>
          <ac:spMkLst>
            <pc:docMk/>
            <pc:sldMk cId="423704220" sldId="332"/>
            <ac:spMk id="2" creationId="{A2DC317F-F1F4-4624-8FC1-3B68C1DBB3DA}"/>
          </ac:spMkLst>
        </pc:spChg>
        <pc:spChg chg="del">
          <ac:chgData name="Meyer Raphael (PAR-ES)" userId="79615dfe-ed48-4e74-a40f-4f7b034c1c27" providerId="ADAL" clId="{6CBE310B-8AD8-4E27-BE2B-82789F9F801F}" dt="2021-02-25T08:15:06.171" v="107" actId="478"/>
          <ac:spMkLst>
            <pc:docMk/>
            <pc:sldMk cId="423704220" sldId="332"/>
            <ac:spMk id="7" creationId="{BA3F9A72-0541-4D1F-8CD8-1C2B8074FA1B}"/>
          </ac:spMkLst>
        </pc:spChg>
        <pc:spChg chg="del">
          <ac:chgData name="Meyer Raphael (PAR-ES)" userId="79615dfe-ed48-4e74-a40f-4f7b034c1c27" providerId="ADAL" clId="{6CBE310B-8AD8-4E27-BE2B-82789F9F801F}" dt="2021-02-25T08:15:06.171" v="107" actId="478"/>
          <ac:spMkLst>
            <pc:docMk/>
            <pc:sldMk cId="423704220" sldId="332"/>
            <ac:spMk id="8" creationId="{5857C2A1-2CB8-4D4A-AEFD-E809BF73D04F}"/>
          </ac:spMkLst>
        </pc:spChg>
        <pc:spChg chg="del">
          <ac:chgData name="Meyer Raphael (PAR-ES)" userId="79615dfe-ed48-4e74-a40f-4f7b034c1c27" providerId="ADAL" clId="{6CBE310B-8AD8-4E27-BE2B-82789F9F801F}" dt="2021-02-25T08:15:06.171" v="107" actId="478"/>
          <ac:spMkLst>
            <pc:docMk/>
            <pc:sldMk cId="423704220" sldId="332"/>
            <ac:spMk id="9" creationId="{B6990B61-32B2-4ADC-BF01-EDF7B4080F97}"/>
          </ac:spMkLst>
        </pc:spChg>
        <pc:spChg chg="mod">
          <ac:chgData name="Meyer Raphael (PAR-ES)" userId="79615dfe-ed48-4e74-a40f-4f7b034c1c27" providerId="ADAL" clId="{6CBE310B-8AD8-4E27-BE2B-82789F9F801F}" dt="2021-02-25T08:15:42.148" v="112"/>
          <ac:spMkLst>
            <pc:docMk/>
            <pc:sldMk cId="423704220" sldId="332"/>
            <ac:spMk id="10" creationId="{077DFD58-E5EE-4B68-9325-D935DB04DD40}"/>
          </ac:spMkLst>
        </pc:spChg>
        <pc:spChg chg="del">
          <ac:chgData name="Meyer Raphael (PAR-ES)" userId="79615dfe-ed48-4e74-a40f-4f7b034c1c27" providerId="ADAL" clId="{6CBE310B-8AD8-4E27-BE2B-82789F9F801F}" dt="2021-02-25T08:15:06.171" v="107" actId="478"/>
          <ac:spMkLst>
            <pc:docMk/>
            <pc:sldMk cId="423704220" sldId="332"/>
            <ac:spMk id="17" creationId="{785E740C-F94A-4208-8DFD-63A603C16577}"/>
          </ac:spMkLst>
        </pc:spChg>
        <pc:spChg chg="add mod">
          <ac:chgData name="Meyer Raphael (PAR-ES)" userId="79615dfe-ed48-4e74-a40f-4f7b034c1c27" providerId="ADAL" clId="{6CBE310B-8AD8-4E27-BE2B-82789F9F801F}" dt="2021-02-25T08:15:23.424" v="110" actId="20577"/>
          <ac:spMkLst>
            <pc:docMk/>
            <pc:sldMk cId="423704220" sldId="332"/>
            <ac:spMk id="23" creationId="{FFA12097-F211-48E9-9363-90FAD8AD9709}"/>
          </ac:spMkLst>
        </pc:spChg>
        <pc:spChg chg="del">
          <ac:chgData name="Meyer Raphael (PAR-ES)" userId="79615dfe-ed48-4e74-a40f-4f7b034c1c27" providerId="ADAL" clId="{6CBE310B-8AD8-4E27-BE2B-82789F9F801F}" dt="2021-02-25T08:15:06.171" v="107" actId="478"/>
          <ac:spMkLst>
            <pc:docMk/>
            <pc:sldMk cId="423704220" sldId="332"/>
            <ac:spMk id="26" creationId="{BFD498B5-D73E-4C8A-9FAF-B3547647538C}"/>
          </ac:spMkLst>
        </pc:spChg>
        <pc:spChg chg="mod">
          <ac:chgData name="Meyer Raphael (PAR-ES)" userId="79615dfe-ed48-4e74-a40f-4f7b034c1c27" providerId="ADAL" clId="{6CBE310B-8AD8-4E27-BE2B-82789F9F801F}" dt="2021-02-25T08:16:16.378" v="115"/>
          <ac:spMkLst>
            <pc:docMk/>
            <pc:sldMk cId="423704220" sldId="332"/>
            <ac:spMk id="27" creationId="{46A6B042-39EE-4A58-BBAA-13D52264B660}"/>
          </ac:spMkLst>
        </pc:spChg>
        <pc:spChg chg="add">
          <ac:chgData name="Meyer Raphael (PAR-ES)" userId="79615dfe-ed48-4e74-a40f-4f7b034c1c27" providerId="ADAL" clId="{6CBE310B-8AD8-4E27-BE2B-82789F9F801F}" dt="2021-02-25T08:15:19.713" v="108"/>
          <ac:spMkLst>
            <pc:docMk/>
            <pc:sldMk cId="423704220" sldId="332"/>
            <ac:spMk id="33" creationId="{8A51CEFF-8B52-4B83-B2C6-9CDE976D209A}"/>
          </ac:spMkLst>
        </pc:spChg>
        <pc:spChg chg="add">
          <ac:chgData name="Meyer Raphael (PAR-ES)" userId="79615dfe-ed48-4e74-a40f-4f7b034c1c27" providerId="ADAL" clId="{6CBE310B-8AD8-4E27-BE2B-82789F9F801F}" dt="2021-02-25T08:15:19.713" v="108"/>
          <ac:spMkLst>
            <pc:docMk/>
            <pc:sldMk cId="423704220" sldId="332"/>
            <ac:spMk id="36" creationId="{5F716302-3F0D-4853-98D4-E97820FB68B9}"/>
          </ac:spMkLst>
        </pc:spChg>
        <pc:spChg chg="add">
          <ac:chgData name="Meyer Raphael (PAR-ES)" userId="79615dfe-ed48-4e74-a40f-4f7b034c1c27" providerId="ADAL" clId="{6CBE310B-8AD8-4E27-BE2B-82789F9F801F}" dt="2021-02-25T08:15:19.713" v="108"/>
          <ac:spMkLst>
            <pc:docMk/>
            <pc:sldMk cId="423704220" sldId="332"/>
            <ac:spMk id="37" creationId="{206BFD9F-6DF9-4B3F-8A30-8B58021DD352}"/>
          </ac:spMkLst>
        </pc:spChg>
        <pc:spChg chg="add">
          <ac:chgData name="Meyer Raphael (PAR-ES)" userId="79615dfe-ed48-4e74-a40f-4f7b034c1c27" providerId="ADAL" clId="{6CBE310B-8AD8-4E27-BE2B-82789F9F801F}" dt="2021-02-25T08:15:19.713" v="108"/>
          <ac:spMkLst>
            <pc:docMk/>
            <pc:sldMk cId="423704220" sldId="332"/>
            <ac:spMk id="38" creationId="{32369B41-D077-4D71-8B1D-8E4EE3EDE857}"/>
          </ac:spMkLst>
        </pc:spChg>
      </pc:sldChg>
      <pc:sldChg chg="addSp delSp modSp add ord">
        <pc:chgData name="Meyer Raphael (PAR-ES)" userId="79615dfe-ed48-4e74-a40f-4f7b034c1c27" providerId="ADAL" clId="{6CBE310B-8AD8-4E27-BE2B-82789F9F801F}" dt="2021-02-25T08:18:18.939" v="125"/>
        <pc:sldMkLst>
          <pc:docMk/>
          <pc:sldMk cId="3676330928" sldId="333"/>
        </pc:sldMkLst>
        <pc:spChg chg="mod">
          <ac:chgData name="Meyer Raphael (PAR-ES)" userId="79615dfe-ed48-4e74-a40f-4f7b034c1c27" providerId="ADAL" clId="{6CBE310B-8AD8-4E27-BE2B-82789F9F801F}" dt="2021-02-25T08:18:08.332" v="124"/>
          <ac:spMkLst>
            <pc:docMk/>
            <pc:sldMk cId="3676330928" sldId="333"/>
            <ac:spMk id="2" creationId="{A2DC317F-F1F4-4624-8FC1-3B68C1DBB3DA}"/>
          </ac:spMkLst>
        </pc:spChg>
        <pc:spChg chg="del">
          <ac:chgData name="Meyer Raphael (PAR-ES)" userId="79615dfe-ed48-4e74-a40f-4f7b034c1c27" providerId="ADAL" clId="{6CBE310B-8AD8-4E27-BE2B-82789F9F801F}" dt="2021-02-25T08:17:12.990" v="117" actId="478"/>
          <ac:spMkLst>
            <pc:docMk/>
            <pc:sldMk cId="3676330928" sldId="333"/>
            <ac:spMk id="7" creationId="{BA3F9A72-0541-4D1F-8CD8-1C2B8074FA1B}"/>
          </ac:spMkLst>
        </pc:spChg>
        <pc:spChg chg="del">
          <ac:chgData name="Meyer Raphael (PAR-ES)" userId="79615dfe-ed48-4e74-a40f-4f7b034c1c27" providerId="ADAL" clId="{6CBE310B-8AD8-4E27-BE2B-82789F9F801F}" dt="2021-02-25T08:17:12.990" v="117" actId="478"/>
          <ac:spMkLst>
            <pc:docMk/>
            <pc:sldMk cId="3676330928" sldId="333"/>
            <ac:spMk id="8" creationId="{5857C2A1-2CB8-4D4A-AEFD-E809BF73D04F}"/>
          </ac:spMkLst>
        </pc:spChg>
        <pc:spChg chg="del">
          <ac:chgData name="Meyer Raphael (PAR-ES)" userId="79615dfe-ed48-4e74-a40f-4f7b034c1c27" providerId="ADAL" clId="{6CBE310B-8AD8-4E27-BE2B-82789F9F801F}" dt="2021-02-25T08:17:12.990" v="117" actId="478"/>
          <ac:spMkLst>
            <pc:docMk/>
            <pc:sldMk cId="3676330928" sldId="333"/>
            <ac:spMk id="9" creationId="{B6990B61-32B2-4ADC-BF01-EDF7B4080F97}"/>
          </ac:spMkLst>
        </pc:spChg>
        <pc:spChg chg="mod">
          <ac:chgData name="Meyer Raphael (PAR-ES)" userId="79615dfe-ed48-4e74-a40f-4f7b034c1c27" providerId="ADAL" clId="{6CBE310B-8AD8-4E27-BE2B-82789F9F801F}" dt="2021-02-25T08:18:18.939" v="125"/>
          <ac:spMkLst>
            <pc:docMk/>
            <pc:sldMk cId="3676330928" sldId="333"/>
            <ac:spMk id="10" creationId="{077DFD58-E5EE-4B68-9325-D935DB04DD40}"/>
          </ac:spMkLst>
        </pc:spChg>
        <pc:spChg chg="del">
          <ac:chgData name="Meyer Raphael (PAR-ES)" userId="79615dfe-ed48-4e74-a40f-4f7b034c1c27" providerId="ADAL" clId="{6CBE310B-8AD8-4E27-BE2B-82789F9F801F}" dt="2021-02-25T08:17:12.990" v="117" actId="478"/>
          <ac:spMkLst>
            <pc:docMk/>
            <pc:sldMk cId="3676330928" sldId="333"/>
            <ac:spMk id="17" creationId="{785E740C-F94A-4208-8DFD-63A603C16577}"/>
          </ac:spMkLst>
        </pc:spChg>
        <pc:spChg chg="add mod">
          <ac:chgData name="Meyer Raphael (PAR-ES)" userId="79615dfe-ed48-4e74-a40f-4f7b034c1c27" providerId="ADAL" clId="{6CBE310B-8AD8-4E27-BE2B-82789F9F801F}" dt="2021-02-25T08:18:00.093" v="123" actId="20577"/>
          <ac:spMkLst>
            <pc:docMk/>
            <pc:sldMk cId="3676330928" sldId="333"/>
            <ac:spMk id="23" creationId="{EFB56E8A-C103-4BC3-B51E-38A988DAF639}"/>
          </ac:spMkLst>
        </pc:spChg>
        <pc:spChg chg="del">
          <ac:chgData name="Meyer Raphael (PAR-ES)" userId="79615dfe-ed48-4e74-a40f-4f7b034c1c27" providerId="ADAL" clId="{6CBE310B-8AD8-4E27-BE2B-82789F9F801F}" dt="2021-02-25T08:17:12.990" v="117" actId="478"/>
          <ac:spMkLst>
            <pc:docMk/>
            <pc:sldMk cId="3676330928" sldId="333"/>
            <ac:spMk id="26" creationId="{BFD498B5-D73E-4C8A-9FAF-B3547647538C}"/>
          </ac:spMkLst>
        </pc:spChg>
        <pc:spChg chg="mod">
          <ac:chgData name="Meyer Raphael (PAR-ES)" userId="79615dfe-ed48-4e74-a40f-4f7b034c1c27" providerId="ADAL" clId="{6CBE310B-8AD8-4E27-BE2B-82789F9F801F}" dt="2021-02-25T08:17:48.568" v="121" actId="14100"/>
          <ac:spMkLst>
            <pc:docMk/>
            <pc:sldMk cId="3676330928" sldId="333"/>
            <ac:spMk id="27" creationId="{46A6B042-39EE-4A58-BBAA-13D52264B660}"/>
          </ac:spMkLst>
        </pc:spChg>
        <pc:spChg chg="add">
          <ac:chgData name="Meyer Raphael (PAR-ES)" userId="79615dfe-ed48-4e74-a40f-4f7b034c1c27" providerId="ADAL" clId="{6CBE310B-8AD8-4E27-BE2B-82789F9F801F}" dt="2021-02-25T08:17:26.339" v="118"/>
          <ac:spMkLst>
            <pc:docMk/>
            <pc:sldMk cId="3676330928" sldId="333"/>
            <ac:spMk id="33" creationId="{BC605298-9673-4C17-8F44-23AE012CD8E2}"/>
          </ac:spMkLst>
        </pc:spChg>
        <pc:spChg chg="add">
          <ac:chgData name="Meyer Raphael (PAR-ES)" userId="79615dfe-ed48-4e74-a40f-4f7b034c1c27" providerId="ADAL" clId="{6CBE310B-8AD8-4E27-BE2B-82789F9F801F}" dt="2021-02-25T08:17:26.339" v="118"/>
          <ac:spMkLst>
            <pc:docMk/>
            <pc:sldMk cId="3676330928" sldId="333"/>
            <ac:spMk id="36" creationId="{54F10397-7FCA-4852-BFE6-00CEA9B477F9}"/>
          </ac:spMkLst>
        </pc:spChg>
        <pc:spChg chg="add">
          <ac:chgData name="Meyer Raphael (PAR-ES)" userId="79615dfe-ed48-4e74-a40f-4f7b034c1c27" providerId="ADAL" clId="{6CBE310B-8AD8-4E27-BE2B-82789F9F801F}" dt="2021-02-25T08:17:26.339" v="118"/>
          <ac:spMkLst>
            <pc:docMk/>
            <pc:sldMk cId="3676330928" sldId="333"/>
            <ac:spMk id="37" creationId="{3E7B73DC-69F6-4099-B97E-E95065CA3C5E}"/>
          </ac:spMkLst>
        </pc:spChg>
        <pc:spChg chg="add">
          <ac:chgData name="Meyer Raphael (PAR-ES)" userId="79615dfe-ed48-4e74-a40f-4f7b034c1c27" providerId="ADAL" clId="{6CBE310B-8AD8-4E27-BE2B-82789F9F801F}" dt="2021-02-25T08:17:26.339" v="118"/>
          <ac:spMkLst>
            <pc:docMk/>
            <pc:sldMk cId="3676330928" sldId="333"/>
            <ac:spMk id="38" creationId="{D91A3230-CB82-493C-822B-2A547E2C54D7}"/>
          </ac:spMkLst>
        </pc:spChg>
      </pc:sldChg>
    </pc:docChg>
  </pc:docChgLst>
  <pc:docChgLst>
    <pc:chgData name="Meyer Raphael (PAR-ES)" userId="79615dfe-ed48-4e74-a40f-4f7b034c1c27" providerId="ADAL" clId="{406498AA-FC02-4732-8D04-74CC3D33B241}"/>
    <pc:docChg chg="addSld modSld">
      <pc:chgData name="Meyer Raphael (PAR-ES)" userId="79615dfe-ed48-4e74-a40f-4f7b034c1c27" providerId="ADAL" clId="{406498AA-FC02-4732-8D04-74CC3D33B241}" dt="2021-10-14T12:43:36.532" v="60" actId="1037"/>
      <pc:docMkLst>
        <pc:docMk/>
      </pc:docMkLst>
      <pc:sldChg chg="modSp add mod">
        <pc:chgData name="Meyer Raphael (PAR-ES)" userId="79615dfe-ed48-4e74-a40f-4f7b034c1c27" providerId="ADAL" clId="{406498AA-FC02-4732-8D04-74CC3D33B241}" dt="2021-10-14T12:40:11.412" v="27" actId="1038"/>
        <pc:sldMkLst>
          <pc:docMk/>
          <pc:sldMk cId="2343299233" sldId="374"/>
        </pc:sldMkLst>
        <pc:spChg chg="mod">
          <ac:chgData name="Meyer Raphael (PAR-ES)" userId="79615dfe-ed48-4e74-a40f-4f7b034c1c27" providerId="ADAL" clId="{406498AA-FC02-4732-8D04-74CC3D33B241}" dt="2021-10-14T12:40:11.412" v="27" actId="1038"/>
          <ac:spMkLst>
            <pc:docMk/>
            <pc:sldMk cId="2343299233" sldId="374"/>
            <ac:spMk id="12" creationId="{970D2C07-63A2-4265-B006-56F685FE80A5}"/>
          </ac:spMkLst>
        </pc:spChg>
        <pc:spChg chg="mod">
          <ac:chgData name="Meyer Raphael (PAR-ES)" userId="79615dfe-ed48-4e74-a40f-4f7b034c1c27" providerId="ADAL" clId="{406498AA-FC02-4732-8D04-74CC3D33B241}" dt="2021-10-14T12:40:11.412" v="27" actId="1038"/>
          <ac:spMkLst>
            <pc:docMk/>
            <pc:sldMk cId="2343299233" sldId="374"/>
            <ac:spMk id="13" creationId="{93412675-62AA-41D8-997C-4E877ED953A8}"/>
          </ac:spMkLst>
        </pc:spChg>
        <pc:graphicFrameChg chg="modGraphic">
          <ac:chgData name="Meyer Raphael (PAR-ES)" userId="79615dfe-ed48-4e74-a40f-4f7b034c1c27" providerId="ADAL" clId="{406498AA-FC02-4732-8D04-74CC3D33B241}" dt="2021-10-14T12:38:46.066" v="18" actId="20577"/>
          <ac:graphicFrameMkLst>
            <pc:docMk/>
            <pc:sldMk cId="2343299233" sldId="374"/>
            <ac:graphicFrameMk id="9" creationId="{E1369C63-C4A7-403B-A03F-B004599F910A}"/>
          </ac:graphicFrameMkLst>
        </pc:graphicFrameChg>
        <pc:cxnChg chg="mod">
          <ac:chgData name="Meyer Raphael (PAR-ES)" userId="79615dfe-ed48-4e74-a40f-4f7b034c1c27" providerId="ADAL" clId="{406498AA-FC02-4732-8D04-74CC3D33B241}" dt="2021-10-14T12:40:11.412" v="27" actId="1038"/>
          <ac:cxnSpMkLst>
            <pc:docMk/>
            <pc:sldMk cId="2343299233" sldId="374"/>
            <ac:cxnSpMk id="8" creationId="{6F3EB9D3-E612-42D9-859B-1905BD876C26}"/>
          </ac:cxnSpMkLst>
        </pc:cxnChg>
      </pc:sldChg>
      <pc:sldChg chg="modSp add mod">
        <pc:chgData name="Meyer Raphael (PAR-ES)" userId="79615dfe-ed48-4e74-a40f-4f7b034c1c27" providerId="ADAL" clId="{406498AA-FC02-4732-8D04-74CC3D33B241}" dt="2021-10-14T12:42:27.536" v="50" actId="1037"/>
        <pc:sldMkLst>
          <pc:docMk/>
          <pc:sldMk cId="3759573184" sldId="375"/>
        </pc:sldMkLst>
        <pc:spChg chg="mod">
          <ac:chgData name="Meyer Raphael (PAR-ES)" userId="79615dfe-ed48-4e74-a40f-4f7b034c1c27" providerId="ADAL" clId="{406498AA-FC02-4732-8D04-74CC3D33B241}" dt="2021-10-14T12:42:27.536" v="50" actId="1037"/>
          <ac:spMkLst>
            <pc:docMk/>
            <pc:sldMk cId="3759573184" sldId="375"/>
            <ac:spMk id="12" creationId="{970D2C07-63A2-4265-B006-56F685FE80A5}"/>
          </ac:spMkLst>
        </pc:spChg>
        <pc:spChg chg="mod">
          <ac:chgData name="Meyer Raphael (PAR-ES)" userId="79615dfe-ed48-4e74-a40f-4f7b034c1c27" providerId="ADAL" clId="{406498AA-FC02-4732-8D04-74CC3D33B241}" dt="2021-10-14T12:42:27.536" v="50" actId="1037"/>
          <ac:spMkLst>
            <pc:docMk/>
            <pc:sldMk cId="3759573184" sldId="375"/>
            <ac:spMk id="13" creationId="{93412675-62AA-41D8-997C-4E877ED953A8}"/>
          </ac:spMkLst>
        </pc:spChg>
        <pc:graphicFrameChg chg="mod modGraphic">
          <ac:chgData name="Meyer Raphael (PAR-ES)" userId="79615dfe-ed48-4e74-a40f-4f7b034c1c27" providerId="ADAL" clId="{406498AA-FC02-4732-8D04-74CC3D33B241}" dt="2021-10-14T12:40:40.765" v="32" actId="20577"/>
          <ac:graphicFrameMkLst>
            <pc:docMk/>
            <pc:sldMk cId="3759573184" sldId="375"/>
            <ac:graphicFrameMk id="9" creationId="{E1369C63-C4A7-403B-A03F-B004599F910A}"/>
          </ac:graphicFrameMkLst>
        </pc:graphicFrameChg>
        <pc:cxnChg chg="mod">
          <ac:chgData name="Meyer Raphael (PAR-ES)" userId="79615dfe-ed48-4e74-a40f-4f7b034c1c27" providerId="ADAL" clId="{406498AA-FC02-4732-8D04-74CC3D33B241}" dt="2021-10-14T12:42:27.536" v="50" actId="1037"/>
          <ac:cxnSpMkLst>
            <pc:docMk/>
            <pc:sldMk cId="3759573184" sldId="375"/>
            <ac:cxnSpMk id="8" creationId="{6F3EB9D3-E612-42D9-859B-1905BD876C26}"/>
          </ac:cxnSpMkLst>
        </pc:cxnChg>
      </pc:sldChg>
      <pc:sldChg chg="modSp add mod">
        <pc:chgData name="Meyer Raphael (PAR-ES)" userId="79615dfe-ed48-4e74-a40f-4f7b034c1c27" providerId="ADAL" clId="{406498AA-FC02-4732-8D04-74CC3D33B241}" dt="2021-10-14T12:43:36.532" v="60" actId="1037"/>
        <pc:sldMkLst>
          <pc:docMk/>
          <pc:sldMk cId="3027727826" sldId="376"/>
        </pc:sldMkLst>
        <pc:spChg chg="mod">
          <ac:chgData name="Meyer Raphael (PAR-ES)" userId="79615dfe-ed48-4e74-a40f-4f7b034c1c27" providerId="ADAL" clId="{406498AA-FC02-4732-8D04-74CC3D33B241}" dt="2021-10-14T12:43:36.532" v="60" actId="1037"/>
          <ac:spMkLst>
            <pc:docMk/>
            <pc:sldMk cId="3027727826" sldId="376"/>
            <ac:spMk id="12" creationId="{970D2C07-63A2-4265-B006-56F685FE80A5}"/>
          </ac:spMkLst>
        </pc:spChg>
        <pc:spChg chg="mod">
          <ac:chgData name="Meyer Raphael (PAR-ES)" userId="79615dfe-ed48-4e74-a40f-4f7b034c1c27" providerId="ADAL" clId="{406498AA-FC02-4732-8D04-74CC3D33B241}" dt="2021-10-14T12:43:36.532" v="60" actId="1037"/>
          <ac:spMkLst>
            <pc:docMk/>
            <pc:sldMk cId="3027727826" sldId="376"/>
            <ac:spMk id="13" creationId="{93412675-62AA-41D8-997C-4E877ED953A8}"/>
          </ac:spMkLst>
        </pc:spChg>
        <pc:graphicFrameChg chg="mod modGraphic">
          <ac:chgData name="Meyer Raphael (PAR-ES)" userId="79615dfe-ed48-4e74-a40f-4f7b034c1c27" providerId="ADAL" clId="{406498AA-FC02-4732-8D04-74CC3D33B241}" dt="2021-10-14T12:40:48.677" v="37" actId="20577"/>
          <ac:graphicFrameMkLst>
            <pc:docMk/>
            <pc:sldMk cId="3027727826" sldId="376"/>
            <ac:graphicFrameMk id="9" creationId="{E1369C63-C4A7-403B-A03F-B004599F910A}"/>
          </ac:graphicFrameMkLst>
        </pc:graphicFrameChg>
        <pc:cxnChg chg="mod">
          <ac:chgData name="Meyer Raphael (PAR-ES)" userId="79615dfe-ed48-4e74-a40f-4f7b034c1c27" providerId="ADAL" clId="{406498AA-FC02-4732-8D04-74CC3D33B241}" dt="2021-10-14T12:43:36.532" v="60" actId="1037"/>
          <ac:cxnSpMkLst>
            <pc:docMk/>
            <pc:sldMk cId="3027727826" sldId="376"/>
            <ac:cxnSpMk id="8" creationId="{6F3EB9D3-E612-42D9-859B-1905BD876C26}"/>
          </ac:cxnSpMkLst>
        </pc:cxnChg>
      </pc:sldChg>
    </pc:docChg>
  </pc:docChgLst>
  <pc:docChgLst>
    <pc:chgData name="Meyer Raphael (PAR-ES)" userId="79615dfe-ed48-4e74-a40f-4f7b034c1c27" providerId="ADAL" clId="{E9CDB45E-1140-4018-8EC9-33D2ECEB95F1}"/>
    <pc:docChg chg="undo custSel modSld sldOrd">
      <pc:chgData name="Meyer Raphael (PAR-ES)" userId="79615dfe-ed48-4e74-a40f-4f7b034c1c27" providerId="ADAL" clId="{E9CDB45E-1140-4018-8EC9-33D2ECEB95F1}" dt="2021-06-17T07:29:28.117" v="133" actId="27918"/>
      <pc:docMkLst>
        <pc:docMk/>
      </pc:docMkLst>
      <pc:sldChg chg="modSp mod ord">
        <pc:chgData name="Meyer Raphael (PAR-ES)" userId="79615dfe-ed48-4e74-a40f-4f7b034c1c27" providerId="ADAL" clId="{E9CDB45E-1140-4018-8EC9-33D2ECEB95F1}" dt="2021-06-17T07:27:44.033" v="126" actId="20577"/>
        <pc:sldMkLst>
          <pc:docMk/>
          <pc:sldMk cId="1495152177" sldId="298"/>
        </pc:sldMkLst>
        <pc:graphicFrameChg chg="modGraphic">
          <ac:chgData name="Meyer Raphael (PAR-ES)" userId="79615dfe-ed48-4e74-a40f-4f7b034c1c27" providerId="ADAL" clId="{E9CDB45E-1140-4018-8EC9-33D2ECEB95F1}" dt="2021-06-17T07:27:44.033" v="126" actId="20577"/>
          <ac:graphicFrameMkLst>
            <pc:docMk/>
            <pc:sldMk cId="1495152177" sldId="298"/>
            <ac:graphicFrameMk id="9" creationId="{E1369C63-C4A7-403B-A03F-B004599F910A}"/>
          </ac:graphicFrameMkLst>
        </pc:graphicFrameChg>
      </pc:sldChg>
      <pc:sldChg chg="modTransition">
        <pc:chgData name="Meyer Raphael (PAR-ES)" userId="79615dfe-ed48-4e74-a40f-4f7b034c1c27" providerId="ADAL" clId="{E9CDB45E-1140-4018-8EC9-33D2ECEB95F1}" dt="2021-06-17T07:27:32.144" v="124"/>
        <pc:sldMkLst>
          <pc:docMk/>
          <pc:sldMk cId="1667945532" sldId="306"/>
        </pc:sldMkLst>
      </pc:sldChg>
      <pc:sldChg chg="modTransition">
        <pc:chgData name="Meyer Raphael (PAR-ES)" userId="79615dfe-ed48-4e74-a40f-4f7b034c1c27" providerId="ADAL" clId="{E9CDB45E-1140-4018-8EC9-33D2ECEB95F1}" dt="2021-06-17T07:27:32.144" v="124"/>
        <pc:sldMkLst>
          <pc:docMk/>
          <pc:sldMk cId="4233813445" sldId="361"/>
        </pc:sldMkLst>
      </pc:sldChg>
      <pc:sldChg chg="modTransition">
        <pc:chgData name="Meyer Raphael (PAR-ES)" userId="79615dfe-ed48-4e74-a40f-4f7b034c1c27" providerId="ADAL" clId="{E9CDB45E-1140-4018-8EC9-33D2ECEB95F1}" dt="2021-06-17T07:27:32.144" v="124"/>
        <pc:sldMkLst>
          <pc:docMk/>
          <pc:sldMk cId="2720568063" sldId="362"/>
        </pc:sldMkLst>
      </pc:sldChg>
      <pc:sldChg chg="modSp mod ord">
        <pc:chgData name="Meyer Raphael (PAR-ES)" userId="79615dfe-ed48-4e74-a40f-4f7b034c1c27" providerId="ADAL" clId="{E9CDB45E-1140-4018-8EC9-33D2ECEB95F1}" dt="2021-06-17T07:29:28.117" v="133" actId="27918"/>
        <pc:sldMkLst>
          <pc:docMk/>
          <pc:sldMk cId="3590012689" sldId="365"/>
        </pc:sldMkLst>
        <pc:spChg chg="mod">
          <ac:chgData name="Meyer Raphael (PAR-ES)" userId="79615dfe-ed48-4e74-a40f-4f7b034c1c27" providerId="ADAL" clId="{E9CDB45E-1140-4018-8EC9-33D2ECEB95F1}" dt="2021-06-16T12:02:45.223" v="40" actId="1076"/>
          <ac:spMkLst>
            <pc:docMk/>
            <pc:sldMk cId="3590012689" sldId="365"/>
            <ac:spMk id="6" creationId="{0EEE4EA3-E16E-424B-97F9-53A8F5D585AE}"/>
          </ac:spMkLst>
        </pc:spChg>
        <pc:graphicFrameChg chg="mod">
          <ac:chgData name="Meyer Raphael (PAR-ES)" userId="79615dfe-ed48-4e74-a40f-4f7b034c1c27" providerId="ADAL" clId="{E9CDB45E-1140-4018-8EC9-33D2ECEB95F1}" dt="2021-06-16T12:02:38.755" v="39" actId="2084"/>
          <ac:graphicFrameMkLst>
            <pc:docMk/>
            <pc:sldMk cId="3590012689" sldId="365"/>
            <ac:graphicFrameMk id="5" creationId="{4CF6AB8B-CAB9-4C7E-8E59-E00357A4D7F0}"/>
          </ac:graphicFrameMkLst>
        </pc:graphicFrameChg>
        <pc:graphicFrameChg chg="mod modGraphic">
          <ac:chgData name="Meyer Raphael (PAR-ES)" userId="79615dfe-ed48-4e74-a40f-4f7b034c1c27" providerId="ADAL" clId="{E9CDB45E-1140-4018-8EC9-33D2ECEB95F1}" dt="2021-06-17T07:27:49.046" v="128" actId="20577"/>
          <ac:graphicFrameMkLst>
            <pc:docMk/>
            <pc:sldMk cId="3590012689" sldId="365"/>
            <ac:graphicFrameMk id="9" creationId="{E1369C63-C4A7-403B-A03F-B004599F910A}"/>
          </ac:graphicFrameMkLst>
        </pc:graphicFrameChg>
      </pc:sldChg>
      <pc:sldChg chg="modSp mod ord">
        <pc:chgData name="Meyer Raphael (PAR-ES)" userId="79615dfe-ed48-4e74-a40f-4f7b034c1c27" providerId="ADAL" clId="{E9CDB45E-1140-4018-8EC9-33D2ECEB95F1}" dt="2021-06-17T07:27:52.158" v="130" actId="20577"/>
        <pc:sldMkLst>
          <pc:docMk/>
          <pc:sldMk cId="689864941" sldId="366"/>
        </pc:sldMkLst>
        <pc:spChg chg="mod">
          <ac:chgData name="Meyer Raphael (PAR-ES)" userId="79615dfe-ed48-4e74-a40f-4f7b034c1c27" providerId="ADAL" clId="{E9CDB45E-1140-4018-8EC9-33D2ECEB95F1}" dt="2021-06-16T12:03:59.776" v="47" actId="1076"/>
          <ac:spMkLst>
            <pc:docMk/>
            <pc:sldMk cId="689864941" sldId="366"/>
            <ac:spMk id="6" creationId="{0EEE4EA3-E16E-424B-97F9-53A8F5D585AE}"/>
          </ac:spMkLst>
        </pc:spChg>
        <pc:graphicFrameChg chg="mod">
          <ac:chgData name="Meyer Raphael (PAR-ES)" userId="79615dfe-ed48-4e74-a40f-4f7b034c1c27" providerId="ADAL" clId="{E9CDB45E-1140-4018-8EC9-33D2ECEB95F1}" dt="2021-06-16T12:03:53.131" v="45" actId="2084"/>
          <ac:graphicFrameMkLst>
            <pc:docMk/>
            <pc:sldMk cId="689864941" sldId="366"/>
            <ac:graphicFrameMk id="5" creationId="{4CF6AB8B-CAB9-4C7E-8E59-E00357A4D7F0}"/>
          </ac:graphicFrameMkLst>
        </pc:graphicFrameChg>
        <pc:graphicFrameChg chg="mod modGraphic">
          <ac:chgData name="Meyer Raphael (PAR-ES)" userId="79615dfe-ed48-4e74-a40f-4f7b034c1c27" providerId="ADAL" clId="{E9CDB45E-1140-4018-8EC9-33D2ECEB95F1}" dt="2021-06-17T07:27:52.158" v="130" actId="20577"/>
          <ac:graphicFrameMkLst>
            <pc:docMk/>
            <pc:sldMk cId="689864941" sldId="366"/>
            <ac:graphicFrameMk id="9" creationId="{E1369C63-C4A7-403B-A03F-B004599F910A}"/>
          </ac:graphicFrameMkLst>
        </pc:graphicFrameChg>
      </pc:sldChg>
    </pc:docChg>
  </pc:docChgLst>
  <pc:docChgLst>
    <pc:chgData name="Meyer Raphael (PAR-ES)" userId="79615dfe-ed48-4e74-a40f-4f7b034c1c27" providerId="ADAL" clId="{138FBAD4-A7EE-47CF-8A8C-1E7C2BC2F598}"/>
    <pc:docChg chg="modSld">
      <pc:chgData name="Meyer Raphael (PAR-ES)" userId="79615dfe-ed48-4e74-a40f-4f7b034c1c27" providerId="ADAL" clId="{138FBAD4-A7EE-47CF-8A8C-1E7C2BC2F598}" dt="2021-08-13T11:00:10.357" v="99" actId="1037"/>
      <pc:docMkLst>
        <pc:docMk/>
      </pc:docMkLst>
      <pc:sldChg chg="modSp mod">
        <pc:chgData name="Meyer Raphael (PAR-ES)" userId="79615dfe-ed48-4e74-a40f-4f7b034c1c27" providerId="ADAL" clId="{138FBAD4-A7EE-47CF-8A8C-1E7C2BC2F598}" dt="2021-08-13T10:55:33.649" v="43" actId="1038"/>
        <pc:sldMkLst>
          <pc:docMk/>
          <pc:sldMk cId="1495152177" sldId="298"/>
        </pc:sldMkLst>
        <pc:spChg chg="mod">
          <ac:chgData name="Meyer Raphael (PAR-ES)" userId="79615dfe-ed48-4e74-a40f-4f7b034c1c27" providerId="ADAL" clId="{138FBAD4-A7EE-47CF-8A8C-1E7C2BC2F598}" dt="2021-08-13T10:55:33.649" v="43" actId="1038"/>
          <ac:spMkLst>
            <pc:docMk/>
            <pc:sldMk cId="1495152177" sldId="298"/>
            <ac:spMk id="12" creationId="{970D2C07-63A2-4265-B006-56F685FE80A5}"/>
          </ac:spMkLst>
        </pc:spChg>
        <pc:spChg chg="mod">
          <ac:chgData name="Meyer Raphael (PAR-ES)" userId="79615dfe-ed48-4e74-a40f-4f7b034c1c27" providerId="ADAL" clId="{138FBAD4-A7EE-47CF-8A8C-1E7C2BC2F598}" dt="2021-08-13T10:55:33.649" v="43" actId="1038"/>
          <ac:spMkLst>
            <pc:docMk/>
            <pc:sldMk cId="1495152177" sldId="298"/>
            <ac:spMk id="13" creationId="{93412675-62AA-41D8-997C-4E877ED953A8}"/>
          </ac:spMkLst>
        </pc:spChg>
        <pc:graphicFrameChg chg="modGraphic">
          <ac:chgData name="Meyer Raphael (PAR-ES)" userId="79615dfe-ed48-4e74-a40f-4f7b034c1c27" providerId="ADAL" clId="{138FBAD4-A7EE-47CF-8A8C-1E7C2BC2F598}" dt="2021-08-13T10:49:35.522" v="13" actId="20577"/>
          <ac:graphicFrameMkLst>
            <pc:docMk/>
            <pc:sldMk cId="1495152177" sldId="298"/>
            <ac:graphicFrameMk id="9" creationId="{E1369C63-C4A7-403B-A03F-B004599F910A}"/>
          </ac:graphicFrameMkLst>
        </pc:graphicFrameChg>
        <pc:cxnChg chg="mod">
          <ac:chgData name="Meyer Raphael (PAR-ES)" userId="79615dfe-ed48-4e74-a40f-4f7b034c1c27" providerId="ADAL" clId="{138FBAD4-A7EE-47CF-8A8C-1E7C2BC2F598}" dt="2021-08-13T10:55:33.649" v="43" actId="1038"/>
          <ac:cxnSpMkLst>
            <pc:docMk/>
            <pc:sldMk cId="1495152177" sldId="298"/>
            <ac:cxnSpMk id="8" creationId="{6F3EB9D3-E612-42D9-859B-1905BD876C26}"/>
          </ac:cxnSpMkLst>
        </pc:cxnChg>
      </pc:sldChg>
      <pc:sldChg chg="modSp mod">
        <pc:chgData name="Meyer Raphael (PAR-ES)" userId="79615dfe-ed48-4e74-a40f-4f7b034c1c27" providerId="ADAL" clId="{138FBAD4-A7EE-47CF-8A8C-1E7C2BC2F598}" dt="2021-08-13T10:58:05.346" v="68" actId="1038"/>
        <pc:sldMkLst>
          <pc:docMk/>
          <pc:sldMk cId="3590012689" sldId="365"/>
        </pc:sldMkLst>
        <pc:spChg chg="mod">
          <ac:chgData name="Meyer Raphael (PAR-ES)" userId="79615dfe-ed48-4e74-a40f-4f7b034c1c27" providerId="ADAL" clId="{138FBAD4-A7EE-47CF-8A8C-1E7C2BC2F598}" dt="2021-08-13T10:58:05.346" v="68" actId="1038"/>
          <ac:spMkLst>
            <pc:docMk/>
            <pc:sldMk cId="3590012689" sldId="365"/>
            <ac:spMk id="12" creationId="{970D2C07-63A2-4265-B006-56F685FE80A5}"/>
          </ac:spMkLst>
        </pc:spChg>
        <pc:spChg chg="mod">
          <ac:chgData name="Meyer Raphael (PAR-ES)" userId="79615dfe-ed48-4e74-a40f-4f7b034c1c27" providerId="ADAL" clId="{138FBAD4-A7EE-47CF-8A8C-1E7C2BC2F598}" dt="2021-08-13T10:58:05.346" v="68" actId="1038"/>
          <ac:spMkLst>
            <pc:docMk/>
            <pc:sldMk cId="3590012689" sldId="365"/>
            <ac:spMk id="13" creationId="{93412675-62AA-41D8-997C-4E877ED953A8}"/>
          </ac:spMkLst>
        </pc:spChg>
        <pc:graphicFrameChg chg="mod modGraphic">
          <ac:chgData name="Meyer Raphael (PAR-ES)" userId="79615dfe-ed48-4e74-a40f-4f7b034c1c27" providerId="ADAL" clId="{138FBAD4-A7EE-47CF-8A8C-1E7C2BC2F598}" dt="2021-08-13T10:49:52.192" v="14"/>
          <ac:graphicFrameMkLst>
            <pc:docMk/>
            <pc:sldMk cId="3590012689" sldId="365"/>
            <ac:graphicFrameMk id="9" creationId="{E1369C63-C4A7-403B-A03F-B004599F910A}"/>
          </ac:graphicFrameMkLst>
        </pc:graphicFrameChg>
        <pc:cxnChg chg="mod">
          <ac:chgData name="Meyer Raphael (PAR-ES)" userId="79615dfe-ed48-4e74-a40f-4f7b034c1c27" providerId="ADAL" clId="{138FBAD4-A7EE-47CF-8A8C-1E7C2BC2F598}" dt="2021-08-13T10:58:05.346" v="68" actId="1038"/>
          <ac:cxnSpMkLst>
            <pc:docMk/>
            <pc:sldMk cId="3590012689" sldId="365"/>
            <ac:cxnSpMk id="8" creationId="{6F3EB9D3-E612-42D9-859B-1905BD876C26}"/>
          </ac:cxnSpMkLst>
        </pc:cxnChg>
      </pc:sldChg>
      <pc:sldChg chg="modSp mod">
        <pc:chgData name="Meyer Raphael (PAR-ES)" userId="79615dfe-ed48-4e74-a40f-4f7b034c1c27" providerId="ADAL" clId="{138FBAD4-A7EE-47CF-8A8C-1E7C2BC2F598}" dt="2021-08-13T11:00:10.357" v="99" actId="1037"/>
        <pc:sldMkLst>
          <pc:docMk/>
          <pc:sldMk cId="689864941" sldId="366"/>
        </pc:sldMkLst>
        <pc:spChg chg="mod">
          <ac:chgData name="Meyer Raphael (PAR-ES)" userId="79615dfe-ed48-4e74-a40f-4f7b034c1c27" providerId="ADAL" clId="{138FBAD4-A7EE-47CF-8A8C-1E7C2BC2F598}" dt="2021-08-13T11:00:10.357" v="99" actId="1037"/>
          <ac:spMkLst>
            <pc:docMk/>
            <pc:sldMk cId="689864941" sldId="366"/>
            <ac:spMk id="12" creationId="{970D2C07-63A2-4265-B006-56F685FE80A5}"/>
          </ac:spMkLst>
        </pc:spChg>
        <pc:spChg chg="mod">
          <ac:chgData name="Meyer Raphael (PAR-ES)" userId="79615dfe-ed48-4e74-a40f-4f7b034c1c27" providerId="ADAL" clId="{138FBAD4-A7EE-47CF-8A8C-1E7C2BC2F598}" dt="2021-08-13T11:00:10.357" v="99" actId="1037"/>
          <ac:spMkLst>
            <pc:docMk/>
            <pc:sldMk cId="689864941" sldId="366"/>
            <ac:spMk id="13" creationId="{93412675-62AA-41D8-997C-4E877ED953A8}"/>
          </ac:spMkLst>
        </pc:spChg>
        <pc:graphicFrameChg chg="mod modGraphic">
          <ac:chgData name="Meyer Raphael (PAR-ES)" userId="79615dfe-ed48-4e74-a40f-4f7b034c1c27" providerId="ADAL" clId="{138FBAD4-A7EE-47CF-8A8C-1E7C2BC2F598}" dt="2021-08-13T10:49:56.922" v="15"/>
          <ac:graphicFrameMkLst>
            <pc:docMk/>
            <pc:sldMk cId="689864941" sldId="366"/>
            <ac:graphicFrameMk id="9" creationId="{E1369C63-C4A7-403B-A03F-B004599F910A}"/>
          </ac:graphicFrameMkLst>
        </pc:graphicFrameChg>
        <pc:cxnChg chg="mod">
          <ac:chgData name="Meyer Raphael (PAR-ES)" userId="79615dfe-ed48-4e74-a40f-4f7b034c1c27" providerId="ADAL" clId="{138FBAD4-A7EE-47CF-8A8C-1E7C2BC2F598}" dt="2021-08-13T11:00:10.357" v="99" actId="1037"/>
          <ac:cxnSpMkLst>
            <pc:docMk/>
            <pc:sldMk cId="689864941" sldId="366"/>
            <ac:cxnSpMk id="8" creationId="{6F3EB9D3-E612-42D9-859B-1905BD876C26}"/>
          </ac:cxnSpMkLst>
        </pc:cxnChg>
      </pc:sldChg>
    </pc:docChg>
  </pc:docChgLst>
  <pc:docChgLst>
    <pc:chgData name="Meyer Raphael (PAR-ES)" userId="79615dfe-ed48-4e74-a40f-4f7b034c1c27" providerId="ADAL" clId="{3868D7A6-4E51-4910-8227-BB5E5AE62424}"/>
    <pc:docChg chg="undo custSel addSld delSld modSld sldOrd">
      <pc:chgData name="Meyer Raphael (PAR-ES)" userId="79615dfe-ed48-4e74-a40f-4f7b034c1c27" providerId="ADAL" clId="{3868D7A6-4E51-4910-8227-BB5E5AE62424}" dt="2021-06-11T07:18:27.335" v="86" actId="2696"/>
      <pc:docMkLst>
        <pc:docMk/>
      </pc:docMkLst>
      <pc:sldChg chg="addSp delSp modSp mod">
        <pc:chgData name="Meyer Raphael (PAR-ES)" userId="79615dfe-ed48-4e74-a40f-4f7b034c1c27" providerId="ADAL" clId="{3868D7A6-4E51-4910-8227-BB5E5AE62424}" dt="2021-06-11T07:15:23.082" v="60" actId="1076"/>
        <pc:sldMkLst>
          <pc:docMk/>
          <pc:sldMk cId="1667945532" sldId="306"/>
        </pc:sldMkLst>
        <pc:spChg chg="mod">
          <ac:chgData name="Meyer Raphael (PAR-ES)" userId="79615dfe-ed48-4e74-a40f-4f7b034c1c27" providerId="ADAL" clId="{3868D7A6-4E51-4910-8227-BB5E5AE62424}" dt="2021-06-11T07:07:25.091" v="7" actId="20577"/>
          <ac:spMkLst>
            <pc:docMk/>
            <pc:sldMk cId="1667945532" sldId="306"/>
            <ac:spMk id="8" creationId="{5857C2A1-2CB8-4D4A-AEFD-E809BF73D04F}"/>
          </ac:spMkLst>
        </pc:spChg>
        <pc:spChg chg="mod">
          <ac:chgData name="Meyer Raphael (PAR-ES)" userId="79615dfe-ed48-4e74-a40f-4f7b034c1c27" providerId="ADAL" clId="{3868D7A6-4E51-4910-8227-BB5E5AE62424}" dt="2021-06-11T07:07:50.930" v="17" actId="20577"/>
          <ac:spMkLst>
            <pc:docMk/>
            <pc:sldMk cId="1667945532" sldId="306"/>
            <ac:spMk id="27" creationId="{46A6B042-39EE-4A58-BBAA-13D52264B660}"/>
          </ac:spMkLst>
        </pc:spChg>
        <pc:spChg chg="mod">
          <ac:chgData name="Meyer Raphael (PAR-ES)" userId="79615dfe-ed48-4e74-a40f-4f7b034c1c27" providerId="ADAL" clId="{3868D7A6-4E51-4910-8227-BB5E5AE62424}" dt="2021-06-11T07:15:23.082" v="60" actId="1076"/>
          <ac:spMkLst>
            <pc:docMk/>
            <pc:sldMk cId="1667945532" sldId="306"/>
            <ac:spMk id="28" creationId="{4492A3CD-6943-423D-BFEC-8129889E8B6F}"/>
          </ac:spMkLst>
        </pc:spChg>
        <pc:spChg chg="mod">
          <ac:chgData name="Meyer Raphael (PAR-ES)" userId="79615dfe-ed48-4e74-a40f-4f7b034c1c27" providerId="ADAL" clId="{3868D7A6-4E51-4910-8227-BB5E5AE62424}" dt="2021-06-11T07:08:01.788" v="21" actId="20577"/>
          <ac:spMkLst>
            <pc:docMk/>
            <pc:sldMk cId="1667945532" sldId="306"/>
            <ac:spMk id="31" creationId="{7491A47D-CAD4-478D-8F3A-296FFCB799F9}"/>
          </ac:spMkLst>
        </pc:spChg>
        <pc:spChg chg="add del mod">
          <ac:chgData name="Meyer Raphael (PAR-ES)" userId="79615dfe-ed48-4e74-a40f-4f7b034c1c27" providerId="ADAL" clId="{3868D7A6-4E51-4910-8227-BB5E5AE62424}" dt="2021-06-11T07:11:06.659" v="40" actId="1076"/>
          <ac:spMkLst>
            <pc:docMk/>
            <pc:sldMk cId="1667945532" sldId="306"/>
            <ac:spMk id="32" creationId="{E65DDA4F-7190-4D5B-B875-6818D18C9F6E}"/>
          </ac:spMkLst>
        </pc:spChg>
        <pc:graphicFrameChg chg="mod">
          <ac:chgData name="Meyer Raphael (PAR-ES)" userId="79615dfe-ed48-4e74-a40f-4f7b034c1c27" providerId="ADAL" clId="{3868D7A6-4E51-4910-8227-BB5E5AE62424}" dt="2021-06-11T07:15:13.927" v="59"/>
          <ac:graphicFrameMkLst>
            <pc:docMk/>
            <pc:sldMk cId="1667945532" sldId="306"/>
            <ac:graphicFrameMk id="24" creationId="{B6049B58-D743-4BF8-ADBD-2CBD12961E56}"/>
          </ac:graphicFrameMkLst>
        </pc:graphicFrameChg>
      </pc:sldChg>
      <pc:sldChg chg="modSp del mod">
        <pc:chgData name="Meyer Raphael (PAR-ES)" userId="79615dfe-ed48-4e74-a40f-4f7b034c1c27" providerId="ADAL" clId="{3868D7A6-4E51-4910-8227-BB5E5AE62424}" dt="2021-06-11T07:16:56.014" v="75" actId="47"/>
        <pc:sldMkLst>
          <pc:docMk/>
          <pc:sldMk cId="1357620443" sldId="359"/>
        </pc:sldMkLst>
        <pc:spChg chg="mod">
          <ac:chgData name="Meyer Raphael (PAR-ES)" userId="79615dfe-ed48-4e74-a40f-4f7b034c1c27" providerId="ADAL" clId="{3868D7A6-4E51-4910-8227-BB5E5AE62424}" dt="2021-06-11T07:16:28.462" v="72" actId="1076"/>
          <ac:spMkLst>
            <pc:docMk/>
            <pc:sldMk cId="1357620443" sldId="359"/>
            <ac:spMk id="2" creationId="{A2DC317F-F1F4-4624-8FC1-3B68C1DBB3DA}"/>
          </ac:spMkLst>
        </pc:spChg>
      </pc:sldChg>
      <pc:sldChg chg="modSp del mod">
        <pc:chgData name="Meyer Raphael (PAR-ES)" userId="79615dfe-ed48-4e74-a40f-4f7b034c1c27" providerId="ADAL" clId="{3868D7A6-4E51-4910-8227-BB5E5AE62424}" dt="2021-06-11T07:18:27.335" v="86" actId="2696"/>
        <pc:sldMkLst>
          <pc:docMk/>
          <pc:sldMk cId="2316055797" sldId="360"/>
        </pc:sldMkLst>
        <pc:spChg chg="mod">
          <ac:chgData name="Meyer Raphael (PAR-ES)" userId="79615dfe-ed48-4e74-a40f-4f7b034c1c27" providerId="ADAL" clId="{3868D7A6-4E51-4910-8227-BB5E5AE62424}" dt="2021-06-11T07:18:13.047" v="84" actId="21"/>
          <ac:spMkLst>
            <pc:docMk/>
            <pc:sldMk cId="2316055797" sldId="360"/>
            <ac:spMk id="8" creationId="{5857C2A1-2CB8-4D4A-AEFD-E809BF73D04F}"/>
          </ac:spMkLst>
        </pc:spChg>
      </pc:sldChg>
      <pc:sldChg chg="addSp delSp modSp add mod ord">
        <pc:chgData name="Meyer Raphael (PAR-ES)" userId="79615dfe-ed48-4e74-a40f-4f7b034c1c27" providerId="ADAL" clId="{3868D7A6-4E51-4910-8227-BB5E5AE62424}" dt="2021-06-11T07:16:43.150" v="74"/>
        <pc:sldMkLst>
          <pc:docMk/>
          <pc:sldMk cId="4233813445" sldId="361"/>
        </pc:sldMkLst>
        <pc:spChg chg="mod">
          <ac:chgData name="Meyer Raphael (PAR-ES)" userId="79615dfe-ed48-4e74-a40f-4f7b034c1c27" providerId="ADAL" clId="{3868D7A6-4E51-4910-8227-BB5E5AE62424}" dt="2021-06-11T07:16:14.668" v="69"/>
          <ac:spMkLst>
            <pc:docMk/>
            <pc:sldMk cId="4233813445" sldId="361"/>
            <ac:spMk id="2" creationId="{A2DC317F-F1F4-4624-8FC1-3B68C1DBB3DA}"/>
          </ac:spMkLst>
        </pc:spChg>
        <pc:spChg chg="del">
          <ac:chgData name="Meyer Raphael (PAR-ES)" userId="79615dfe-ed48-4e74-a40f-4f7b034c1c27" providerId="ADAL" clId="{3868D7A6-4E51-4910-8227-BB5E5AE62424}" dt="2021-06-11T07:15:41.424" v="67" actId="478"/>
          <ac:spMkLst>
            <pc:docMk/>
            <pc:sldMk cId="4233813445" sldId="361"/>
            <ac:spMk id="7" creationId="{BA3F9A72-0541-4D1F-8CD8-1C2B8074FA1B}"/>
          </ac:spMkLst>
        </pc:spChg>
        <pc:spChg chg="mod">
          <ac:chgData name="Meyer Raphael (PAR-ES)" userId="79615dfe-ed48-4e74-a40f-4f7b034c1c27" providerId="ADAL" clId="{3868D7A6-4E51-4910-8227-BB5E5AE62424}" dt="2021-06-11T07:16:43.150" v="74"/>
          <ac:spMkLst>
            <pc:docMk/>
            <pc:sldMk cId="4233813445" sldId="361"/>
            <ac:spMk id="8" creationId="{5857C2A1-2CB8-4D4A-AEFD-E809BF73D04F}"/>
          </ac:spMkLst>
        </pc:spChg>
        <pc:spChg chg="del">
          <ac:chgData name="Meyer Raphael (PAR-ES)" userId="79615dfe-ed48-4e74-a40f-4f7b034c1c27" providerId="ADAL" clId="{3868D7A6-4E51-4910-8227-BB5E5AE62424}" dt="2021-06-11T07:15:41.424" v="67" actId="478"/>
          <ac:spMkLst>
            <pc:docMk/>
            <pc:sldMk cId="4233813445" sldId="361"/>
            <ac:spMk id="9" creationId="{B6990B61-32B2-4ADC-BF01-EDF7B4080F97}"/>
          </ac:spMkLst>
        </pc:spChg>
        <pc:spChg chg="mod">
          <ac:chgData name="Meyer Raphael (PAR-ES)" userId="79615dfe-ed48-4e74-a40f-4f7b034c1c27" providerId="ADAL" clId="{3868D7A6-4E51-4910-8227-BB5E5AE62424}" dt="2021-06-11T07:16:22.590" v="70"/>
          <ac:spMkLst>
            <pc:docMk/>
            <pc:sldMk cId="4233813445" sldId="361"/>
            <ac:spMk id="10" creationId="{077DFD58-E5EE-4B68-9325-D935DB04DD40}"/>
          </ac:spMkLst>
        </pc:spChg>
        <pc:spChg chg="del">
          <ac:chgData name="Meyer Raphael (PAR-ES)" userId="79615dfe-ed48-4e74-a40f-4f7b034c1c27" providerId="ADAL" clId="{3868D7A6-4E51-4910-8227-BB5E5AE62424}" dt="2021-06-11T07:15:41.424" v="67" actId="478"/>
          <ac:spMkLst>
            <pc:docMk/>
            <pc:sldMk cId="4233813445" sldId="361"/>
            <ac:spMk id="17" creationId="{785E740C-F94A-4208-8DFD-63A603C16577}"/>
          </ac:spMkLst>
        </pc:spChg>
        <pc:spChg chg="add mod">
          <ac:chgData name="Meyer Raphael (PAR-ES)" userId="79615dfe-ed48-4e74-a40f-4f7b034c1c27" providerId="ADAL" clId="{3868D7A6-4E51-4910-8227-BB5E5AE62424}" dt="2021-06-11T07:15:50.242" v="68"/>
          <ac:spMkLst>
            <pc:docMk/>
            <pc:sldMk cId="4233813445" sldId="361"/>
            <ac:spMk id="21" creationId="{CFB058F8-83B6-4C65-9942-5E7EF730245F}"/>
          </ac:spMkLst>
        </pc:spChg>
        <pc:spChg chg="add mod">
          <ac:chgData name="Meyer Raphael (PAR-ES)" userId="79615dfe-ed48-4e74-a40f-4f7b034c1c27" providerId="ADAL" clId="{3868D7A6-4E51-4910-8227-BB5E5AE62424}" dt="2021-06-11T07:15:50.242" v="68"/>
          <ac:spMkLst>
            <pc:docMk/>
            <pc:sldMk cId="4233813445" sldId="361"/>
            <ac:spMk id="22" creationId="{6546A983-7F99-41C9-BC0A-EA422CEC0B6C}"/>
          </ac:spMkLst>
        </pc:spChg>
        <pc:spChg chg="add mod">
          <ac:chgData name="Meyer Raphael (PAR-ES)" userId="79615dfe-ed48-4e74-a40f-4f7b034c1c27" providerId="ADAL" clId="{3868D7A6-4E51-4910-8227-BB5E5AE62424}" dt="2021-06-11T07:15:50.242" v="68"/>
          <ac:spMkLst>
            <pc:docMk/>
            <pc:sldMk cId="4233813445" sldId="361"/>
            <ac:spMk id="23" creationId="{A5CDB6A2-6783-4CA4-A683-86C15BF17E48}"/>
          </ac:spMkLst>
        </pc:spChg>
        <pc:spChg chg="add mod">
          <ac:chgData name="Meyer Raphael (PAR-ES)" userId="79615dfe-ed48-4e74-a40f-4f7b034c1c27" providerId="ADAL" clId="{3868D7A6-4E51-4910-8227-BB5E5AE62424}" dt="2021-06-11T07:15:50.242" v="68"/>
          <ac:spMkLst>
            <pc:docMk/>
            <pc:sldMk cId="4233813445" sldId="361"/>
            <ac:spMk id="25" creationId="{4A25BD2A-D11D-4F62-AE82-D86449E80A7E}"/>
          </ac:spMkLst>
        </pc:spChg>
        <pc:spChg chg="del">
          <ac:chgData name="Meyer Raphael (PAR-ES)" userId="79615dfe-ed48-4e74-a40f-4f7b034c1c27" providerId="ADAL" clId="{3868D7A6-4E51-4910-8227-BB5E5AE62424}" dt="2021-06-11T07:15:41.424" v="67" actId="478"/>
          <ac:spMkLst>
            <pc:docMk/>
            <pc:sldMk cId="4233813445" sldId="361"/>
            <ac:spMk id="26" creationId="{BFD498B5-D73E-4C8A-9FAF-B3547647538C}"/>
          </ac:spMkLst>
        </pc:spChg>
        <pc:spChg chg="mod">
          <ac:chgData name="Meyer Raphael (PAR-ES)" userId="79615dfe-ed48-4e74-a40f-4f7b034c1c27" providerId="ADAL" clId="{3868D7A6-4E51-4910-8227-BB5E5AE62424}" dt="2021-06-11T07:16:36.627" v="73"/>
          <ac:spMkLst>
            <pc:docMk/>
            <pc:sldMk cId="4233813445" sldId="361"/>
            <ac:spMk id="27" creationId="{46A6B042-39EE-4A58-BBAA-13D52264B660}"/>
          </ac:spMkLst>
        </pc:spChg>
      </pc:sldChg>
      <pc:sldChg chg="addSp delSp modSp add mod ord">
        <pc:chgData name="Meyer Raphael (PAR-ES)" userId="79615dfe-ed48-4e74-a40f-4f7b034c1c27" providerId="ADAL" clId="{3868D7A6-4E51-4910-8227-BB5E5AE62424}" dt="2021-06-11T07:18:16.099" v="85"/>
        <pc:sldMkLst>
          <pc:docMk/>
          <pc:sldMk cId="2720568063" sldId="362"/>
        </pc:sldMkLst>
        <pc:spChg chg="mod">
          <ac:chgData name="Meyer Raphael (PAR-ES)" userId="79615dfe-ed48-4e74-a40f-4f7b034c1c27" providerId="ADAL" clId="{3868D7A6-4E51-4910-8227-BB5E5AE62424}" dt="2021-06-11T07:17:16.070" v="76"/>
          <ac:spMkLst>
            <pc:docMk/>
            <pc:sldMk cId="2720568063" sldId="362"/>
            <ac:spMk id="2" creationId="{A2DC317F-F1F4-4624-8FC1-3B68C1DBB3DA}"/>
          </ac:spMkLst>
        </pc:spChg>
        <pc:spChg chg="del">
          <ac:chgData name="Meyer Raphael (PAR-ES)" userId="79615dfe-ed48-4e74-a40f-4f7b034c1c27" providerId="ADAL" clId="{3868D7A6-4E51-4910-8227-BB5E5AE62424}" dt="2021-06-11T07:17:22.209" v="77" actId="478"/>
          <ac:spMkLst>
            <pc:docMk/>
            <pc:sldMk cId="2720568063" sldId="362"/>
            <ac:spMk id="7" creationId="{BA3F9A72-0541-4D1F-8CD8-1C2B8074FA1B}"/>
          </ac:spMkLst>
        </pc:spChg>
        <pc:spChg chg="mod">
          <ac:chgData name="Meyer Raphael (PAR-ES)" userId="79615dfe-ed48-4e74-a40f-4f7b034c1c27" providerId="ADAL" clId="{3868D7A6-4E51-4910-8227-BB5E5AE62424}" dt="2021-06-11T07:18:16.099" v="85"/>
          <ac:spMkLst>
            <pc:docMk/>
            <pc:sldMk cId="2720568063" sldId="362"/>
            <ac:spMk id="8" creationId="{5857C2A1-2CB8-4D4A-AEFD-E809BF73D04F}"/>
          </ac:spMkLst>
        </pc:spChg>
        <pc:spChg chg="del">
          <ac:chgData name="Meyer Raphael (PAR-ES)" userId="79615dfe-ed48-4e74-a40f-4f7b034c1c27" providerId="ADAL" clId="{3868D7A6-4E51-4910-8227-BB5E5AE62424}" dt="2021-06-11T07:17:22.209" v="77" actId="478"/>
          <ac:spMkLst>
            <pc:docMk/>
            <pc:sldMk cId="2720568063" sldId="362"/>
            <ac:spMk id="9" creationId="{B6990B61-32B2-4ADC-BF01-EDF7B4080F97}"/>
          </ac:spMkLst>
        </pc:spChg>
        <pc:spChg chg="mod">
          <ac:chgData name="Meyer Raphael (PAR-ES)" userId="79615dfe-ed48-4e74-a40f-4f7b034c1c27" providerId="ADAL" clId="{3868D7A6-4E51-4910-8227-BB5E5AE62424}" dt="2021-06-11T07:17:40.247" v="79"/>
          <ac:spMkLst>
            <pc:docMk/>
            <pc:sldMk cId="2720568063" sldId="362"/>
            <ac:spMk id="10" creationId="{077DFD58-E5EE-4B68-9325-D935DB04DD40}"/>
          </ac:spMkLst>
        </pc:spChg>
        <pc:spChg chg="del">
          <ac:chgData name="Meyer Raphael (PAR-ES)" userId="79615dfe-ed48-4e74-a40f-4f7b034c1c27" providerId="ADAL" clId="{3868D7A6-4E51-4910-8227-BB5E5AE62424}" dt="2021-06-11T07:17:22.209" v="77" actId="478"/>
          <ac:spMkLst>
            <pc:docMk/>
            <pc:sldMk cId="2720568063" sldId="362"/>
            <ac:spMk id="17" creationId="{785E740C-F94A-4208-8DFD-63A603C16577}"/>
          </ac:spMkLst>
        </pc:spChg>
        <pc:spChg chg="add mod">
          <ac:chgData name="Meyer Raphael (PAR-ES)" userId="79615dfe-ed48-4e74-a40f-4f7b034c1c27" providerId="ADAL" clId="{3868D7A6-4E51-4910-8227-BB5E5AE62424}" dt="2021-06-11T07:17:29.877" v="78"/>
          <ac:spMkLst>
            <pc:docMk/>
            <pc:sldMk cId="2720568063" sldId="362"/>
            <ac:spMk id="21" creationId="{41B2A410-111D-481C-B353-CF7DAC144AA4}"/>
          </ac:spMkLst>
        </pc:spChg>
        <pc:spChg chg="add mod">
          <ac:chgData name="Meyer Raphael (PAR-ES)" userId="79615dfe-ed48-4e74-a40f-4f7b034c1c27" providerId="ADAL" clId="{3868D7A6-4E51-4910-8227-BB5E5AE62424}" dt="2021-06-11T07:17:29.877" v="78"/>
          <ac:spMkLst>
            <pc:docMk/>
            <pc:sldMk cId="2720568063" sldId="362"/>
            <ac:spMk id="22" creationId="{4BE7A2DC-2AE8-42BE-8158-98D7D2DB0673}"/>
          </ac:spMkLst>
        </pc:spChg>
        <pc:spChg chg="add mod">
          <ac:chgData name="Meyer Raphael (PAR-ES)" userId="79615dfe-ed48-4e74-a40f-4f7b034c1c27" providerId="ADAL" clId="{3868D7A6-4E51-4910-8227-BB5E5AE62424}" dt="2021-06-11T07:17:29.877" v="78"/>
          <ac:spMkLst>
            <pc:docMk/>
            <pc:sldMk cId="2720568063" sldId="362"/>
            <ac:spMk id="23" creationId="{0E582E98-645C-4BB8-846C-362178056670}"/>
          </ac:spMkLst>
        </pc:spChg>
        <pc:spChg chg="add mod">
          <ac:chgData name="Meyer Raphael (PAR-ES)" userId="79615dfe-ed48-4e74-a40f-4f7b034c1c27" providerId="ADAL" clId="{3868D7A6-4E51-4910-8227-BB5E5AE62424}" dt="2021-06-11T07:17:29.877" v="78"/>
          <ac:spMkLst>
            <pc:docMk/>
            <pc:sldMk cId="2720568063" sldId="362"/>
            <ac:spMk id="25" creationId="{5C63190D-FBEA-4E90-B8D2-2364808E268A}"/>
          </ac:spMkLst>
        </pc:spChg>
        <pc:spChg chg="del">
          <ac:chgData name="Meyer Raphael (PAR-ES)" userId="79615dfe-ed48-4e74-a40f-4f7b034c1c27" providerId="ADAL" clId="{3868D7A6-4E51-4910-8227-BB5E5AE62424}" dt="2021-06-11T07:17:22.209" v="77" actId="478"/>
          <ac:spMkLst>
            <pc:docMk/>
            <pc:sldMk cId="2720568063" sldId="362"/>
            <ac:spMk id="26" creationId="{BFD498B5-D73E-4C8A-9FAF-B3547647538C}"/>
          </ac:spMkLst>
        </pc:spChg>
        <pc:spChg chg="mod">
          <ac:chgData name="Meyer Raphael (PAR-ES)" userId="79615dfe-ed48-4e74-a40f-4f7b034c1c27" providerId="ADAL" clId="{3868D7A6-4E51-4910-8227-BB5E5AE62424}" dt="2021-06-11T07:18:08.051" v="83" actId="14100"/>
          <ac:spMkLst>
            <pc:docMk/>
            <pc:sldMk cId="2720568063" sldId="362"/>
            <ac:spMk id="27" creationId="{46A6B042-39EE-4A58-BBAA-13D52264B660}"/>
          </ac:spMkLst>
        </pc:spChg>
      </pc:sldChg>
    </pc:docChg>
  </pc:docChgLst>
  <pc:docChgLst>
    <pc:chgData name="Meyer Raphael (PAR-ES)" userId="79615dfe-ed48-4e74-a40f-4f7b034c1c27" providerId="ADAL" clId="{132FF8F2-48C6-41EE-8CF3-667233E80772}"/>
    <pc:docChg chg="undo custSel modSld">
      <pc:chgData name="Meyer Raphael (PAR-ES)" userId="79615dfe-ed48-4e74-a40f-4f7b034c1c27" providerId="ADAL" clId="{132FF8F2-48C6-41EE-8CF3-667233E80772}" dt="2021-10-27T08:27:44.495" v="31" actId="20577"/>
      <pc:docMkLst>
        <pc:docMk/>
      </pc:docMkLst>
      <pc:sldChg chg="modSp mod">
        <pc:chgData name="Meyer Raphael (PAR-ES)" userId="79615dfe-ed48-4e74-a40f-4f7b034c1c27" providerId="ADAL" clId="{132FF8F2-48C6-41EE-8CF3-667233E80772}" dt="2021-10-27T08:27:44.495" v="31" actId="20577"/>
        <pc:sldMkLst>
          <pc:docMk/>
          <pc:sldMk cId="200941906" sldId="419"/>
        </pc:sldMkLst>
        <pc:spChg chg="mod">
          <ac:chgData name="Meyer Raphael (PAR-ES)" userId="79615dfe-ed48-4e74-a40f-4f7b034c1c27" providerId="ADAL" clId="{132FF8F2-48C6-41EE-8CF3-667233E80772}" dt="2021-10-27T08:27:44.495" v="31" actId="20577"/>
          <ac:spMkLst>
            <pc:docMk/>
            <pc:sldMk cId="200941906" sldId="419"/>
            <ac:spMk id="19" creationId="{C9D68B27-6022-4C1D-A210-C0037BB4C784}"/>
          </ac:spMkLst>
        </pc:spChg>
      </pc:sldChg>
      <pc:sldChg chg="modSp mod">
        <pc:chgData name="Meyer Raphael (PAR-ES)" userId="79615dfe-ed48-4e74-a40f-4f7b034c1c27" providerId="ADAL" clId="{132FF8F2-48C6-41EE-8CF3-667233E80772}" dt="2021-10-27T08:27:39.280" v="29" actId="20577"/>
        <pc:sldMkLst>
          <pc:docMk/>
          <pc:sldMk cId="3299254992" sldId="420"/>
        </pc:sldMkLst>
        <pc:spChg chg="mod">
          <ac:chgData name="Meyer Raphael (PAR-ES)" userId="79615dfe-ed48-4e74-a40f-4f7b034c1c27" providerId="ADAL" clId="{132FF8F2-48C6-41EE-8CF3-667233E80772}" dt="2021-10-27T08:27:39.280" v="29" actId="20577"/>
          <ac:spMkLst>
            <pc:docMk/>
            <pc:sldMk cId="3299254992" sldId="420"/>
            <ac:spMk id="21" creationId="{4B90160B-6648-45BB-A5C3-EB5B31E56152}"/>
          </ac:spMkLst>
        </pc:spChg>
      </pc:sldChg>
    </pc:docChg>
  </pc:docChgLst>
  <pc:docChgLst>
    <pc:chgData name="Meyer Raphael (PAR-ES)" userId="79615dfe-ed48-4e74-a40f-4f7b034c1c27" providerId="ADAL" clId="{F606B207-8952-4A43-A7BE-98A2DD852393}"/>
    <pc:docChg chg="modSld">
      <pc:chgData name="Meyer Raphael (PAR-ES)" userId="79615dfe-ed48-4e74-a40f-4f7b034c1c27" providerId="ADAL" clId="{F606B207-8952-4A43-A7BE-98A2DD852393}" dt="2021-11-04T13:14:52.704" v="3" actId="14100"/>
      <pc:docMkLst>
        <pc:docMk/>
      </pc:docMkLst>
      <pc:sldChg chg="modSp">
        <pc:chgData name="Meyer Raphael (PAR-ES)" userId="79615dfe-ed48-4e74-a40f-4f7b034c1c27" providerId="ADAL" clId="{F606B207-8952-4A43-A7BE-98A2DD852393}" dt="2021-11-04T13:14:38.157" v="0" actId="14100"/>
        <pc:sldMkLst>
          <pc:docMk/>
          <pc:sldMk cId="3808035539" sldId="270"/>
        </pc:sldMkLst>
        <pc:graphicFrameChg chg="mod">
          <ac:chgData name="Meyer Raphael (PAR-ES)" userId="79615dfe-ed48-4e74-a40f-4f7b034c1c27" providerId="ADAL" clId="{F606B207-8952-4A43-A7BE-98A2DD852393}" dt="2021-11-04T13:14:38.157" v="0" actId="14100"/>
          <ac:graphicFrameMkLst>
            <pc:docMk/>
            <pc:sldMk cId="3808035539" sldId="270"/>
            <ac:graphicFrameMk id="9" creationId="{00000000-0000-0000-0000-000000000000}"/>
          </ac:graphicFrameMkLst>
        </pc:graphicFrameChg>
      </pc:sldChg>
      <pc:sldChg chg="modSp">
        <pc:chgData name="Meyer Raphael (PAR-ES)" userId="79615dfe-ed48-4e74-a40f-4f7b034c1c27" providerId="ADAL" clId="{F606B207-8952-4A43-A7BE-98A2DD852393}" dt="2021-11-04T13:14:43.918" v="1" actId="14100"/>
        <pc:sldMkLst>
          <pc:docMk/>
          <pc:sldMk cId="3677740869" sldId="271"/>
        </pc:sldMkLst>
        <pc:graphicFrameChg chg="mod">
          <ac:chgData name="Meyer Raphael (PAR-ES)" userId="79615dfe-ed48-4e74-a40f-4f7b034c1c27" providerId="ADAL" clId="{F606B207-8952-4A43-A7BE-98A2DD852393}" dt="2021-11-04T13:14:43.918" v="1" actId="14100"/>
          <ac:graphicFrameMkLst>
            <pc:docMk/>
            <pc:sldMk cId="3677740869" sldId="271"/>
            <ac:graphicFrameMk id="9" creationId="{00000000-0000-0000-0000-000000000000}"/>
          </ac:graphicFrameMkLst>
        </pc:graphicFrameChg>
      </pc:sldChg>
      <pc:sldChg chg="modSp">
        <pc:chgData name="Meyer Raphael (PAR-ES)" userId="79615dfe-ed48-4e74-a40f-4f7b034c1c27" providerId="ADAL" clId="{F606B207-8952-4A43-A7BE-98A2DD852393}" dt="2021-11-04T13:14:48.679" v="2" actId="14100"/>
        <pc:sldMkLst>
          <pc:docMk/>
          <pc:sldMk cId="1963209825" sldId="272"/>
        </pc:sldMkLst>
        <pc:graphicFrameChg chg="mod">
          <ac:chgData name="Meyer Raphael (PAR-ES)" userId="79615dfe-ed48-4e74-a40f-4f7b034c1c27" providerId="ADAL" clId="{F606B207-8952-4A43-A7BE-98A2DD852393}" dt="2021-11-04T13:14:48.679" v="2" actId="14100"/>
          <ac:graphicFrameMkLst>
            <pc:docMk/>
            <pc:sldMk cId="1963209825" sldId="272"/>
            <ac:graphicFrameMk id="9" creationId="{00000000-0000-0000-0000-000000000000}"/>
          </ac:graphicFrameMkLst>
        </pc:graphicFrameChg>
      </pc:sldChg>
      <pc:sldChg chg="modSp">
        <pc:chgData name="Meyer Raphael (PAR-ES)" userId="79615dfe-ed48-4e74-a40f-4f7b034c1c27" providerId="ADAL" clId="{F606B207-8952-4A43-A7BE-98A2DD852393}" dt="2021-11-04T13:14:52.704" v="3" actId="14100"/>
        <pc:sldMkLst>
          <pc:docMk/>
          <pc:sldMk cId="1065586608" sldId="273"/>
        </pc:sldMkLst>
        <pc:graphicFrameChg chg="mod">
          <ac:chgData name="Meyer Raphael (PAR-ES)" userId="79615dfe-ed48-4e74-a40f-4f7b034c1c27" providerId="ADAL" clId="{F606B207-8952-4A43-A7BE-98A2DD852393}" dt="2021-11-04T13:14:52.704" v="3" actId="14100"/>
          <ac:graphicFrameMkLst>
            <pc:docMk/>
            <pc:sldMk cId="1065586608" sldId="273"/>
            <ac:graphicFrameMk id="9" creationId="{00000000-0000-0000-0000-000000000000}"/>
          </ac:graphicFrameMkLst>
        </pc:graphicFrameChg>
      </pc:sldChg>
    </pc:docChg>
  </pc:docChgLst>
  <pc:docChgLst>
    <pc:chgData name="Meyer Raphael (PAR-ES)" userId="79615dfe-ed48-4e74-a40f-4f7b034c1c27" providerId="ADAL" clId="{0919502C-317E-4EA9-B6B6-94BE89C311B1}"/>
    <pc:docChg chg="modSld">
      <pc:chgData name="Meyer Raphael (PAR-ES)" userId="79615dfe-ed48-4e74-a40f-4f7b034c1c27" providerId="ADAL" clId="{0919502C-317E-4EA9-B6B6-94BE89C311B1}" dt="2021-10-19T06:54:48.430" v="147" actId="1036"/>
      <pc:docMkLst>
        <pc:docMk/>
      </pc:docMkLst>
      <pc:sldChg chg="modSp mod">
        <pc:chgData name="Meyer Raphael (PAR-ES)" userId="79615dfe-ed48-4e74-a40f-4f7b034c1c27" providerId="ADAL" clId="{0919502C-317E-4EA9-B6B6-94BE89C311B1}" dt="2021-10-19T06:54:48.430" v="147" actId="1036"/>
        <pc:sldMkLst>
          <pc:docMk/>
          <pc:sldMk cId="1537997412" sldId="373"/>
        </pc:sldMkLst>
        <pc:spChg chg="mod">
          <ac:chgData name="Meyer Raphael (PAR-ES)" userId="79615dfe-ed48-4e74-a40f-4f7b034c1c27" providerId="ADAL" clId="{0919502C-317E-4EA9-B6B6-94BE89C311B1}" dt="2021-10-19T06:54:40.279" v="127" actId="1035"/>
          <ac:spMkLst>
            <pc:docMk/>
            <pc:sldMk cId="1537997412" sldId="373"/>
            <ac:spMk id="6" creationId="{8C570F95-0775-4F12-8DDA-DD52CE7241CC}"/>
          </ac:spMkLst>
        </pc:spChg>
        <pc:spChg chg="mod">
          <ac:chgData name="Meyer Raphael (PAR-ES)" userId="79615dfe-ed48-4e74-a40f-4f7b034c1c27" providerId="ADAL" clId="{0919502C-317E-4EA9-B6B6-94BE89C311B1}" dt="2021-10-19T06:54:48.430" v="147" actId="1036"/>
          <ac:spMkLst>
            <pc:docMk/>
            <pc:sldMk cId="1537997412" sldId="373"/>
            <ac:spMk id="16" creationId="{12071265-4F7A-4F0C-9EDF-46D776DCEF56}"/>
          </ac:spMkLst>
        </pc:spChg>
        <pc:spChg chg="mod">
          <ac:chgData name="Meyer Raphael (PAR-ES)" userId="79615dfe-ed48-4e74-a40f-4f7b034c1c27" providerId="ADAL" clId="{0919502C-317E-4EA9-B6B6-94BE89C311B1}" dt="2021-10-19T06:54:48.430" v="147" actId="1036"/>
          <ac:spMkLst>
            <pc:docMk/>
            <pc:sldMk cId="1537997412" sldId="373"/>
            <ac:spMk id="22" creationId="{B3F5B9B8-EDA8-430F-83AA-59E4DAA4DCA3}"/>
          </ac:spMkLst>
        </pc:spChg>
        <pc:spChg chg="mod">
          <ac:chgData name="Meyer Raphael (PAR-ES)" userId="79615dfe-ed48-4e74-a40f-4f7b034c1c27" providerId="ADAL" clId="{0919502C-317E-4EA9-B6B6-94BE89C311B1}" dt="2021-10-19T06:54:35.649" v="126" actId="14100"/>
          <ac:spMkLst>
            <pc:docMk/>
            <pc:sldMk cId="1537997412" sldId="373"/>
            <ac:spMk id="24" creationId="{FD07A55C-6879-4E52-B5A8-38679864E2FC}"/>
          </ac:spMkLst>
        </pc:spChg>
        <pc:cxnChg chg="mod">
          <ac:chgData name="Meyer Raphael (PAR-ES)" userId="79615dfe-ed48-4e74-a40f-4f7b034c1c27" providerId="ADAL" clId="{0919502C-317E-4EA9-B6B6-94BE89C311B1}" dt="2021-10-19T06:54:19.707" v="111" actId="1035"/>
          <ac:cxnSpMkLst>
            <pc:docMk/>
            <pc:sldMk cId="1537997412" sldId="373"/>
            <ac:cxnSpMk id="17" creationId="{ADB86D40-94DA-4EA6-A13C-F322B879613C}"/>
          </ac:cxnSpMkLst>
        </pc:cxnChg>
        <pc:cxnChg chg="mod">
          <ac:chgData name="Meyer Raphael (PAR-ES)" userId="79615dfe-ed48-4e74-a40f-4f7b034c1c27" providerId="ADAL" clId="{0919502C-317E-4EA9-B6B6-94BE89C311B1}" dt="2021-10-19T06:53:41.516" v="47" actId="14100"/>
          <ac:cxnSpMkLst>
            <pc:docMk/>
            <pc:sldMk cId="1537997412" sldId="373"/>
            <ac:cxnSpMk id="18" creationId="{4AD487EB-8B7D-42D2-9F65-FA2AF08A717F}"/>
          </ac:cxnSpMkLst>
        </pc:cxnChg>
        <pc:cxnChg chg="mod">
          <ac:chgData name="Meyer Raphael (PAR-ES)" userId="79615dfe-ed48-4e74-a40f-4f7b034c1c27" providerId="ADAL" clId="{0919502C-317E-4EA9-B6B6-94BE89C311B1}" dt="2021-10-19T06:53:50.952" v="63" actId="14100"/>
          <ac:cxnSpMkLst>
            <pc:docMk/>
            <pc:sldMk cId="1537997412" sldId="373"/>
            <ac:cxnSpMk id="21" creationId="{70B5456D-B5DD-4516-B6A3-B39AEE671B52}"/>
          </ac:cxnSpMkLst>
        </pc:cxnChg>
      </pc:sldChg>
    </pc:docChg>
  </pc:docChgLst>
  <pc:docChgLst>
    <pc:chgData name="Meyer Raphael (PAR-ES)" userId="79615dfe-ed48-4e74-a40f-4f7b034c1c27" providerId="ADAL" clId="{3CA16789-4E73-4C69-8D8B-B43110273F7B}"/>
    <pc:docChg chg="custSel addSld delSld modSld sldOrd">
      <pc:chgData name="Meyer Raphael (PAR-ES)" userId="79615dfe-ed48-4e74-a40f-4f7b034c1c27" providerId="ADAL" clId="{3CA16789-4E73-4C69-8D8B-B43110273F7B}" dt="2021-04-30T07:05:21.764" v="116" actId="2696"/>
      <pc:docMkLst>
        <pc:docMk/>
      </pc:docMkLst>
      <pc:sldChg chg="modSp mod">
        <pc:chgData name="Meyer Raphael (PAR-ES)" userId="79615dfe-ed48-4e74-a40f-4f7b034c1c27" providerId="ADAL" clId="{3CA16789-4E73-4C69-8D8B-B43110273F7B}" dt="2021-04-30T07:01:03.423" v="84" actId="20577"/>
        <pc:sldMkLst>
          <pc:docMk/>
          <pc:sldMk cId="1667945532" sldId="306"/>
        </pc:sldMkLst>
        <pc:spChg chg="mod">
          <ac:chgData name="Meyer Raphael (PAR-ES)" userId="79615dfe-ed48-4e74-a40f-4f7b034c1c27" providerId="ADAL" clId="{3CA16789-4E73-4C69-8D8B-B43110273F7B}" dt="2021-04-30T07:00:13.194" v="66" actId="20577"/>
          <ac:spMkLst>
            <pc:docMk/>
            <pc:sldMk cId="1667945532" sldId="306"/>
            <ac:spMk id="8" creationId="{5857C2A1-2CB8-4D4A-AEFD-E809BF73D04F}"/>
          </ac:spMkLst>
        </pc:spChg>
        <pc:spChg chg="mod">
          <ac:chgData name="Meyer Raphael (PAR-ES)" userId="79615dfe-ed48-4e74-a40f-4f7b034c1c27" providerId="ADAL" clId="{3CA16789-4E73-4C69-8D8B-B43110273F7B}" dt="2021-04-30T07:00:42.219" v="76" actId="20577"/>
          <ac:spMkLst>
            <pc:docMk/>
            <pc:sldMk cId="1667945532" sldId="306"/>
            <ac:spMk id="27" creationId="{46A6B042-39EE-4A58-BBAA-13D52264B660}"/>
          </ac:spMkLst>
        </pc:spChg>
        <pc:spChg chg="mod">
          <ac:chgData name="Meyer Raphael (PAR-ES)" userId="79615dfe-ed48-4e74-a40f-4f7b034c1c27" providerId="ADAL" clId="{3CA16789-4E73-4C69-8D8B-B43110273F7B}" dt="2021-04-30T06:57:12.947" v="54" actId="552"/>
          <ac:spMkLst>
            <pc:docMk/>
            <pc:sldMk cId="1667945532" sldId="306"/>
            <ac:spMk id="28" creationId="{4492A3CD-6943-423D-BFEC-8129889E8B6F}"/>
          </ac:spMkLst>
        </pc:spChg>
        <pc:spChg chg="mod">
          <ac:chgData name="Meyer Raphael (PAR-ES)" userId="79615dfe-ed48-4e74-a40f-4f7b034c1c27" providerId="ADAL" clId="{3CA16789-4E73-4C69-8D8B-B43110273F7B}" dt="2021-04-30T07:01:03.423" v="84" actId="20577"/>
          <ac:spMkLst>
            <pc:docMk/>
            <pc:sldMk cId="1667945532" sldId="306"/>
            <ac:spMk id="31" creationId="{7491A47D-CAD4-478D-8F3A-296FFCB799F9}"/>
          </ac:spMkLst>
        </pc:spChg>
        <pc:spChg chg="mod">
          <ac:chgData name="Meyer Raphael (PAR-ES)" userId="79615dfe-ed48-4e74-a40f-4f7b034c1c27" providerId="ADAL" clId="{3CA16789-4E73-4C69-8D8B-B43110273F7B}" dt="2021-04-30T06:57:18.524" v="58" actId="1038"/>
          <ac:spMkLst>
            <pc:docMk/>
            <pc:sldMk cId="1667945532" sldId="306"/>
            <ac:spMk id="32" creationId="{E65DDA4F-7190-4D5B-B875-6818D18C9F6E}"/>
          </ac:spMkLst>
        </pc:spChg>
        <pc:graphicFrameChg chg="mod">
          <ac:chgData name="Meyer Raphael (PAR-ES)" userId="79615dfe-ed48-4e74-a40f-4f7b034c1c27" providerId="ADAL" clId="{3CA16789-4E73-4C69-8D8B-B43110273F7B}" dt="2021-04-30T06:53:10.971" v="22"/>
          <ac:graphicFrameMkLst>
            <pc:docMk/>
            <pc:sldMk cId="1667945532" sldId="306"/>
            <ac:graphicFrameMk id="5" creationId="{4CF6AB8B-CAB9-4C7E-8E59-E00357A4D7F0}"/>
          </ac:graphicFrameMkLst>
        </pc:graphicFrameChg>
        <pc:cxnChg chg="mod">
          <ac:chgData name="Meyer Raphael (PAR-ES)" userId="79615dfe-ed48-4e74-a40f-4f7b034c1c27" providerId="ADAL" clId="{3CA16789-4E73-4C69-8D8B-B43110273F7B}" dt="2021-04-30T06:57:45.408" v="64" actId="1038"/>
          <ac:cxnSpMkLst>
            <pc:docMk/>
            <pc:sldMk cId="1667945532" sldId="306"/>
            <ac:cxnSpMk id="29" creationId="{FD3E902F-283F-48FC-9504-FF2FF4EA4BF0}"/>
          </ac:cxnSpMkLst>
        </pc:cxnChg>
        <pc:cxnChg chg="mod">
          <ac:chgData name="Meyer Raphael (PAR-ES)" userId="79615dfe-ed48-4e74-a40f-4f7b034c1c27" providerId="ADAL" clId="{3CA16789-4E73-4C69-8D8B-B43110273F7B}" dt="2021-04-30T06:57:40.814" v="62" actId="1037"/>
          <ac:cxnSpMkLst>
            <pc:docMk/>
            <pc:sldMk cId="1667945532" sldId="306"/>
            <ac:cxnSpMk id="30" creationId="{1D702FCA-793F-404B-84D5-F14C318BFFB3}"/>
          </ac:cxnSpMkLst>
        </pc:cxnChg>
      </pc:sldChg>
      <pc:sldChg chg="del">
        <pc:chgData name="Meyer Raphael (PAR-ES)" userId="79615dfe-ed48-4e74-a40f-4f7b034c1c27" providerId="ADAL" clId="{3CA16789-4E73-4C69-8D8B-B43110273F7B}" dt="2021-04-30T07:03:50.644" v="98" actId="2696"/>
        <pc:sldMkLst>
          <pc:docMk/>
          <pc:sldMk cId="3794750395" sldId="348"/>
        </pc:sldMkLst>
      </pc:sldChg>
      <pc:sldChg chg="del">
        <pc:chgData name="Meyer Raphael (PAR-ES)" userId="79615dfe-ed48-4e74-a40f-4f7b034c1c27" providerId="ADAL" clId="{3CA16789-4E73-4C69-8D8B-B43110273F7B}" dt="2021-04-30T07:05:21.764" v="116" actId="2696"/>
        <pc:sldMkLst>
          <pc:docMk/>
          <pc:sldMk cId="1552181785" sldId="349"/>
        </pc:sldMkLst>
      </pc:sldChg>
      <pc:sldChg chg="addSp delSp modSp add mod ord">
        <pc:chgData name="Meyer Raphael (PAR-ES)" userId="79615dfe-ed48-4e74-a40f-4f7b034c1c27" providerId="ADAL" clId="{3CA16789-4E73-4C69-8D8B-B43110273F7B}" dt="2021-04-30T07:05:12.430" v="115" actId="14100"/>
        <pc:sldMkLst>
          <pc:docMk/>
          <pc:sldMk cId="3739047188" sldId="350"/>
        </pc:sldMkLst>
        <pc:spChg chg="mod">
          <ac:chgData name="Meyer Raphael (PAR-ES)" userId="79615dfe-ed48-4e74-a40f-4f7b034c1c27" providerId="ADAL" clId="{3CA16789-4E73-4C69-8D8B-B43110273F7B}" dt="2021-04-30T07:04:20.861" v="101"/>
          <ac:spMkLst>
            <pc:docMk/>
            <pc:sldMk cId="3739047188" sldId="350"/>
            <ac:spMk id="2" creationId="{A2DC317F-F1F4-4624-8FC1-3B68C1DBB3DA}"/>
          </ac:spMkLst>
        </pc:spChg>
        <pc:spChg chg="del">
          <ac:chgData name="Meyer Raphael (PAR-ES)" userId="79615dfe-ed48-4e74-a40f-4f7b034c1c27" providerId="ADAL" clId="{3CA16789-4E73-4C69-8D8B-B43110273F7B}" dt="2021-04-30T07:04:02.611" v="99" actId="478"/>
          <ac:spMkLst>
            <pc:docMk/>
            <pc:sldMk cId="3739047188" sldId="350"/>
            <ac:spMk id="7" creationId="{BA3F9A72-0541-4D1F-8CD8-1C2B8074FA1B}"/>
          </ac:spMkLst>
        </pc:spChg>
        <pc:spChg chg="mod">
          <ac:chgData name="Meyer Raphael (PAR-ES)" userId="79615dfe-ed48-4e74-a40f-4f7b034c1c27" providerId="ADAL" clId="{3CA16789-4E73-4C69-8D8B-B43110273F7B}" dt="2021-04-30T07:04:50.162" v="113" actId="1038"/>
          <ac:spMkLst>
            <pc:docMk/>
            <pc:sldMk cId="3739047188" sldId="350"/>
            <ac:spMk id="8" creationId="{5857C2A1-2CB8-4D4A-AEFD-E809BF73D04F}"/>
          </ac:spMkLst>
        </pc:spChg>
        <pc:spChg chg="del">
          <ac:chgData name="Meyer Raphael (PAR-ES)" userId="79615dfe-ed48-4e74-a40f-4f7b034c1c27" providerId="ADAL" clId="{3CA16789-4E73-4C69-8D8B-B43110273F7B}" dt="2021-04-30T07:04:02.611" v="99" actId="478"/>
          <ac:spMkLst>
            <pc:docMk/>
            <pc:sldMk cId="3739047188" sldId="350"/>
            <ac:spMk id="9" creationId="{B6990B61-32B2-4ADC-BF01-EDF7B4080F97}"/>
          </ac:spMkLst>
        </pc:spChg>
        <pc:spChg chg="mod">
          <ac:chgData name="Meyer Raphael (PAR-ES)" userId="79615dfe-ed48-4e74-a40f-4f7b034c1c27" providerId="ADAL" clId="{3CA16789-4E73-4C69-8D8B-B43110273F7B}" dt="2021-04-30T07:04:30.395" v="102"/>
          <ac:spMkLst>
            <pc:docMk/>
            <pc:sldMk cId="3739047188" sldId="350"/>
            <ac:spMk id="10" creationId="{077DFD58-E5EE-4B68-9325-D935DB04DD40}"/>
          </ac:spMkLst>
        </pc:spChg>
        <pc:spChg chg="del">
          <ac:chgData name="Meyer Raphael (PAR-ES)" userId="79615dfe-ed48-4e74-a40f-4f7b034c1c27" providerId="ADAL" clId="{3CA16789-4E73-4C69-8D8B-B43110273F7B}" dt="2021-04-30T07:04:02.611" v="99" actId="478"/>
          <ac:spMkLst>
            <pc:docMk/>
            <pc:sldMk cId="3739047188" sldId="350"/>
            <ac:spMk id="17" creationId="{785E740C-F94A-4208-8DFD-63A603C16577}"/>
          </ac:spMkLst>
        </pc:spChg>
        <pc:spChg chg="add mod">
          <ac:chgData name="Meyer Raphael (PAR-ES)" userId="79615dfe-ed48-4e74-a40f-4f7b034c1c27" providerId="ADAL" clId="{3CA16789-4E73-4C69-8D8B-B43110273F7B}" dt="2021-04-30T07:04:11.398" v="100"/>
          <ac:spMkLst>
            <pc:docMk/>
            <pc:sldMk cId="3739047188" sldId="350"/>
            <ac:spMk id="21" creationId="{A289C2CD-2234-403C-AC36-580AAE5317D6}"/>
          </ac:spMkLst>
        </pc:spChg>
        <pc:spChg chg="add mod">
          <ac:chgData name="Meyer Raphael (PAR-ES)" userId="79615dfe-ed48-4e74-a40f-4f7b034c1c27" providerId="ADAL" clId="{3CA16789-4E73-4C69-8D8B-B43110273F7B}" dt="2021-04-30T07:04:11.398" v="100"/>
          <ac:spMkLst>
            <pc:docMk/>
            <pc:sldMk cId="3739047188" sldId="350"/>
            <ac:spMk id="22" creationId="{0EB13722-3B63-4D88-8F3C-A1D02E358C5E}"/>
          </ac:spMkLst>
        </pc:spChg>
        <pc:spChg chg="add mod">
          <ac:chgData name="Meyer Raphael (PAR-ES)" userId="79615dfe-ed48-4e74-a40f-4f7b034c1c27" providerId="ADAL" clId="{3CA16789-4E73-4C69-8D8B-B43110273F7B}" dt="2021-04-30T07:04:11.398" v="100"/>
          <ac:spMkLst>
            <pc:docMk/>
            <pc:sldMk cId="3739047188" sldId="350"/>
            <ac:spMk id="23" creationId="{5FCAB9CA-9ABE-4D50-9CCE-DCB432301411}"/>
          </ac:spMkLst>
        </pc:spChg>
        <pc:spChg chg="add mod">
          <ac:chgData name="Meyer Raphael (PAR-ES)" userId="79615dfe-ed48-4e74-a40f-4f7b034c1c27" providerId="ADAL" clId="{3CA16789-4E73-4C69-8D8B-B43110273F7B}" dt="2021-04-30T07:04:11.398" v="100"/>
          <ac:spMkLst>
            <pc:docMk/>
            <pc:sldMk cId="3739047188" sldId="350"/>
            <ac:spMk id="25" creationId="{8F289E0B-A5A0-455A-A515-82ADB366B345}"/>
          </ac:spMkLst>
        </pc:spChg>
        <pc:spChg chg="del">
          <ac:chgData name="Meyer Raphael (PAR-ES)" userId="79615dfe-ed48-4e74-a40f-4f7b034c1c27" providerId="ADAL" clId="{3CA16789-4E73-4C69-8D8B-B43110273F7B}" dt="2021-04-30T07:04:02.611" v="99" actId="478"/>
          <ac:spMkLst>
            <pc:docMk/>
            <pc:sldMk cId="3739047188" sldId="350"/>
            <ac:spMk id="26" creationId="{BFD498B5-D73E-4C8A-9FAF-B3547647538C}"/>
          </ac:spMkLst>
        </pc:spChg>
        <pc:spChg chg="mod">
          <ac:chgData name="Meyer Raphael (PAR-ES)" userId="79615dfe-ed48-4e74-a40f-4f7b034c1c27" providerId="ADAL" clId="{3CA16789-4E73-4C69-8D8B-B43110273F7B}" dt="2021-04-30T07:05:12.430" v="115" actId="14100"/>
          <ac:spMkLst>
            <pc:docMk/>
            <pc:sldMk cId="3739047188" sldId="350"/>
            <ac:spMk id="27" creationId="{46A6B042-39EE-4A58-BBAA-13D52264B660}"/>
          </ac:spMkLst>
        </pc:spChg>
      </pc:sldChg>
      <pc:sldChg chg="addSp delSp modSp add mod ord">
        <pc:chgData name="Meyer Raphael (PAR-ES)" userId="79615dfe-ed48-4e74-a40f-4f7b034c1c27" providerId="ADAL" clId="{3CA16789-4E73-4C69-8D8B-B43110273F7B}" dt="2021-04-30T07:03:36.020" v="97"/>
        <pc:sldMkLst>
          <pc:docMk/>
          <pc:sldMk cId="2393230848" sldId="351"/>
        </pc:sldMkLst>
        <pc:spChg chg="mod">
          <ac:chgData name="Meyer Raphael (PAR-ES)" userId="79615dfe-ed48-4e74-a40f-4f7b034c1c27" providerId="ADAL" clId="{3CA16789-4E73-4C69-8D8B-B43110273F7B}" dt="2021-04-30T07:02:55.353" v="93"/>
          <ac:spMkLst>
            <pc:docMk/>
            <pc:sldMk cId="2393230848" sldId="351"/>
            <ac:spMk id="2" creationId="{A2DC317F-F1F4-4624-8FC1-3B68C1DBB3DA}"/>
          </ac:spMkLst>
        </pc:spChg>
        <pc:spChg chg="del">
          <ac:chgData name="Meyer Raphael (PAR-ES)" userId="79615dfe-ed48-4e74-a40f-4f7b034c1c27" providerId="ADAL" clId="{3CA16789-4E73-4C69-8D8B-B43110273F7B}" dt="2021-04-30T07:02:36.390" v="91" actId="478"/>
          <ac:spMkLst>
            <pc:docMk/>
            <pc:sldMk cId="2393230848" sldId="351"/>
            <ac:spMk id="7" creationId="{BA3F9A72-0541-4D1F-8CD8-1C2B8074FA1B}"/>
          </ac:spMkLst>
        </pc:spChg>
        <pc:spChg chg="mod">
          <ac:chgData name="Meyer Raphael (PAR-ES)" userId="79615dfe-ed48-4e74-a40f-4f7b034c1c27" providerId="ADAL" clId="{3CA16789-4E73-4C69-8D8B-B43110273F7B}" dt="2021-04-30T07:03:20.221" v="96" actId="14100"/>
          <ac:spMkLst>
            <pc:docMk/>
            <pc:sldMk cId="2393230848" sldId="351"/>
            <ac:spMk id="8" creationId="{5857C2A1-2CB8-4D4A-AEFD-E809BF73D04F}"/>
          </ac:spMkLst>
        </pc:spChg>
        <pc:spChg chg="del">
          <ac:chgData name="Meyer Raphael (PAR-ES)" userId="79615dfe-ed48-4e74-a40f-4f7b034c1c27" providerId="ADAL" clId="{3CA16789-4E73-4C69-8D8B-B43110273F7B}" dt="2021-04-30T07:02:36.390" v="91" actId="478"/>
          <ac:spMkLst>
            <pc:docMk/>
            <pc:sldMk cId="2393230848" sldId="351"/>
            <ac:spMk id="9" creationId="{B6990B61-32B2-4ADC-BF01-EDF7B4080F97}"/>
          </ac:spMkLst>
        </pc:spChg>
        <pc:spChg chg="mod">
          <ac:chgData name="Meyer Raphael (PAR-ES)" userId="79615dfe-ed48-4e74-a40f-4f7b034c1c27" providerId="ADAL" clId="{3CA16789-4E73-4C69-8D8B-B43110273F7B}" dt="2021-04-30T07:03:06.994" v="94"/>
          <ac:spMkLst>
            <pc:docMk/>
            <pc:sldMk cId="2393230848" sldId="351"/>
            <ac:spMk id="10" creationId="{077DFD58-E5EE-4B68-9325-D935DB04DD40}"/>
          </ac:spMkLst>
        </pc:spChg>
        <pc:spChg chg="del">
          <ac:chgData name="Meyer Raphael (PAR-ES)" userId="79615dfe-ed48-4e74-a40f-4f7b034c1c27" providerId="ADAL" clId="{3CA16789-4E73-4C69-8D8B-B43110273F7B}" dt="2021-04-30T07:02:36.390" v="91" actId="478"/>
          <ac:spMkLst>
            <pc:docMk/>
            <pc:sldMk cId="2393230848" sldId="351"/>
            <ac:spMk id="17" creationId="{785E740C-F94A-4208-8DFD-63A603C16577}"/>
          </ac:spMkLst>
        </pc:spChg>
        <pc:spChg chg="add mod">
          <ac:chgData name="Meyer Raphael (PAR-ES)" userId="79615dfe-ed48-4e74-a40f-4f7b034c1c27" providerId="ADAL" clId="{3CA16789-4E73-4C69-8D8B-B43110273F7B}" dt="2021-04-30T07:02:46.271" v="92"/>
          <ac:spMkLst>
            <pc:docMk/>
            <pc:sldMk cId="2393230848" sldId="351"/>
            <ac:spMk id="21" creationId="{8846911B-74B7-4F54-BE37-34D072ACCE8C}"/>
          </ac:spMkLst>
        </pc:spChg>
        <pc:spChg chg="add mod">
          <ac:chgData name="Meyer Raphael (PAR-ES)" userId="79615dfe-ed48-4e74-a40f-4f7b034c1c27" providerId="ADAL" clId="{3CA16789-4E73-4C69-8D8B-B43110273F7B}" dt="2021-04-30T07:02:46.271" v="92"/>
          <ac:spMkLst>
            <pc:docMk/>
            <pc:sldMk cId="2393230848" sldId="351"/>
            <ac:spMk id="22" creationId="{F7CB452A-4958-4C8E-B85E-895E530EB7D2}"/>
          </ac:spMkLst>
        </pc:spChg>
        <pc:spChg chg="add mod">
          <ac:chgData name="Meyer Raphael (PAR-ES)" userId="79615dfe-ed48-4e74-a40f-4f7b034c1c27" providerId="ADAL" clId="{3CA16789-4E73-4C69-8D8B-B43110273F7B}" dt="2021-04-30T07:02:46.271" v="92"/>
          <ac:spMkLst>
            <pc:docMk/>
            <pc:sldMk cId="2393230848" sldId="351"/>
            <ac:spMk id="23" creationId="{3BCBF218-6934-4E2E-8A39-3EAF804953BB}"/>
          </ac:spMkLst>
        </pc:spChg>
        <pc:spChg chg="add mod">
          <ac:chgData name="Meyer Raphael (PAR-ES)" userId="79615dfe-ed48-4e74-a40f-4f7b034c1c27" providerId="ADAL" clId="{3CA16789-4E73-4C69-8D8B-B43110273F7B}" dt="2021-04-30T07:02:46.271" v="92"/>
          <ac:spMkLst>
            <pc:docMk/>
            <pc:sldMk cId="2393230848" sldId="351"/>
            <ac:spMk id="25" creationId="{AB971104-6819-40A6-BE14-D19A3A65CAEC}"/>
          </ac:spMkLst>
        </pc:spChg>
        <pc:spChg chg="del">
          <ac:chgData name="Meyer Raphael (PAR-ES)" userId="79615dfe-ed48-4e74-a40f-4f7b034c1c27" providerId="ADAL" clId="{3CA16789-4E73-4C69-8D8B-B43110273F7B}" dt="2021-04-30T07:02:36.390" v="91" actId="478"/>
          <ac:spMkLst>
            <pc:docMk/>
            <pc:sldMk cId="2393230848" sldId="351"/>
            <ac:spMk id="26" creationId="{BFD498B5-D73E-4C8A-9FAF-B3547647538C}"/>
          </ac:spMkLst>
        </pc:spChg>
        <pc:spChg chg="mod">
          <ac:chgData name="Meyer Raphael (PAR-ES)" userId="79615dfe-ed48-4e74-a40f-4f7b034c1c27" providerId="ADAL" clId="{3CA16789-4E73-4C69-8D8B-B43110273F7B}" dt="2021-04-30T07:03:36.020" v="97"/>
          <ac:spMkLst>
            <pc:docMk/>
            <pc:sldMk cId="2393230848" sldId="351"/>
            <ac:spMk id="27" creationId="{46A6B042-39EE-4A58-BBAA-13D52264B660}"/>
          </ac:spMkLst>
        </pc:spChg>
      </pc:sldChg>
    </pc:docChg>
  </pc:docChgLst>
  <pc:docChgLst>
    <pc:chgData name="Meyer Raphael (PAR-ES)" userId="79615dfe-ed48-4e74-a40f-4f7b034c1c27" providerId="ADAL" clId="{61D52C4E-E5E4-42FA-AB6D-366494A96EE2}"/>
    <pc:docChg chg="undo custSel modSld">
      <pc:chgData name="Meyer Raphael (PAR-ES)" userId="79615dfe-ed48-4e74-a40f-4f7b034c1c27" providerId="ADAL" clId="{61D52C4E-E5E4-42FA-AB6D-366494A96EE2}" dt="2021-11-04T10:05:55.117" v="23" actId="207"/>
      <pc:docMkLst>
        <pc:docMk/>
      </pc:docMkLst>
      <pc:sldChg chg="addSp delSp modSp mod">
        <pc:chgData name="Meyer Raphael (PAR-ES)" userId="79615dfe-ed48-4e74-a40f-4f7b034c1c27" providerId="ADAL" clId="{61D52C4E-E5E4-42FA-AB6D-366494A96EE2}" dt="2021-11-04T10:05:55.117" v="23" actId="207"/>
        <pc:sldMkLst>
          <pc:docMk/>
          <pc:sldMk cId="3808035539" sldId="270"/>
        </pc:sldMkLst>
        <pc:spChg chg="add mod">
          <ac:chgData name="Meyer Raphael (PAR-ES)" userId="79615dfe-ed48-4e74-a40f-4f7b034c1c27" providerId="ADAL" clId="{61D52C4E-E5E4-42FA-AB6D-366494A96EE2}" dt="2021-11-04T10:05:35.260" v="22" actId="207"/>
          <ac:spMkLst>
            <pc:docMk/>
            <pc:sldMk cId="3808035539" sldId="270"/>
            <ac:spMk id="7" creationId="{CE60A944-7104-442D-B06A-85C8256131F7}"/>
          </ac:spMkLst>
        </pc:spChg>
        <pc:spChg chg="add del mod">
          <ac:chgData name="Meyer Raphael (PAR-ES)" userId="79615dfe-ed48-4e74-a40f-4f7b034c1c27" providerId="ADAL" clId="{61D52C4E-E5E4-42FA-AB6D-366494A96EE2}" dt="2021-11-04T10:04:13.696" v="21" actId="478"/>
          <ac:spMkLst>
            <pc:docMk/>
            <pc:sldMk cId="3808035539" sldId="270"/>
            <ac:spMk id="8" creationId="{BE32E368-8678-40CA-B225-215870648184}"/>
          </ac:spMkLst>
        </pc:spChg>
        <pc:spChg chg="mod">
          <ac:chgData name="Meyer Raphael (PAR-ES)" userId="79615dfe-ed48-4e74-a40f-4f7b034c1c27" providerId="ADAL" clId="{61D52C4E-E5E4-42FA-AB6D-366494A96EE2}" dt="2021-11-04T10:05:55.117" v="23" actId="207"/>
          <ac:spMkLst>
            <pc:docMk/>
            <pc:sldMk cId="3808035539" sldId="270"/>
            <ac:spMk id="10" creationId="{41B9B9AB-4B12-4760-AF37-4FABDDFAE68B}"/>
          </ac:spMkLst>
        </pc:spChg>
      </pc:sldChg>
    </pc:docChg>
  </pc:docChgLst>
</pc:chgInfo>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0915228494009"/>
          <c:y val="0.20194547626540688"/>
          <c:w val="0.79430876353508262"/>
          <c:h val="0.54899326530717274"/>
        </c:manualLayout>
      </c:layout>
      <c:barChart>
        <c:barDir val="col"/>
        <c:grouping val="stacked"/>
        <c:varyColors val="0"/>
        <c:ser>
          <c:idx val="0"/>
          <c:order val="0"/>
          <c:tx>
            <c:strRef>
              <c:f>data!$C$8</c:f>
              <c:strCache>
                <c:ptCount val="1"/>
                <c:pt idx="0">
                  <c:v>Bedient durch Personal SBB</c:v>
                </c:pt>
              </c:strCache>
            </c:strRef>
          </c:tx>
          <c:spPr>
            <a:solidFill>
              <a:schemeClr val="tx2"/>
            </a:solidFill>
          </c:spPr>
          <c:invertIfNegative val="0"/>
          <c:dPt>
            <c:idx val="8"/>
            <c:invertIfNegative val="0"/>
            <c:bubble3D val="0"/>
            <c:spPr>
              <a:solidFill>
                <a:schemeClr val="tx2"/>
              </a:solidFill>
            </c:spPr>
            <c:extLst>
              <c:ext xmlns:c16="http://schemas.microsoft.com/office/drawing/2014/chart" uri="{C3380CC4-5D6E-409C-BE32-E72D297353CC}">
                <c16:uniqueId val="{00000001-B853-422A-9B9D-A6EAA6FFB23D}"/>
              </c:ext>
            </c:extLst>
          </c:dPt>
          <c:dPt>
            <c:idx val="9"/>
            <c:invertIfNegative val="0"/>
            <c:bubble3D val="0"/>
            <c:spPr>
              <a:solidFill>
                <a:schemeClr val="tx2"/>
              </a:solidFill>
            </c:spPr>
            <c:extLst>
              <c:ext xmlns:c16="http://schemas.microsoft.com/office/drawing/2014/chart" uri="{C3380CC4-5D6E-409C-BE32-E72D297353CC}">
                <c16:uniqueId val="{00000002-A13B-4284-B6F4-DA5A5D4B0C07}"/>
              </c:ext>
            </c:extLst>
          </c:dPt>
          <c:dPt>
            <c:idx val="10"/>
            <c:invertIfNegative val="0"/>
            <c:bubble3D val="0"/>
            <c:spPr>
              <a:solidFill>
                <a:srgbClr val="A20013"/>
              </a:solidFill>
            </c:spPr>
            <c:extLst>
              <c:ext xmlns:c16="http://schemas.microsoft.com/office/drawing/2014/chart" uri="{C3380CC4-5D6E-409C-BE32-E72D297353CC}">
                <c16:uniqueId val="{00000007-BA71-4AB3-9083-618CAFA0EC4A}"/>
              </c:ext>
            </c:extLst>
          </c:dPt>
          <c:cat>
            <c:numRef>
              <c:f>data!$B$9:$B$19</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data!$C$9:$C$19</c:f>
              <c:numCache>
                <c:formatCode>#,##0</c:formatCode>
                <c:ptCount val="11"/>
                <c:pt idx="0">
                  <c:v>179</c:v>
                </c:pt>
                <c:pt idx="1">
                  <c:v>176</c:v>
                </c:pt>
                <c:pt idx="2">
                  <c:v>170</c:v>
                </c:pt>
                <c:pt idx="3">
                  <c:v>166</c:v>
                </c:pt>
                <c:pt idx="4">
                  <c:v>156</c:v>
                </c:pt>
                <c:pt idx="5">
                  <c:v>145</c:v>
                </c:pt>
                <c:pt idx="6">
                  <c:v>144</c:v>
                </c:pt>
                <c:pt idx="7">
                  <c:v>143</c:v>
                </c:pt>
                <c:pt idx="8">
                  <c:v>130</c:v>
                </c:pt>
                <c:pt idx="9">
                  <c:v>121</c:v>
                </c:pt>
                <c:pt idx="10">
                  <c:v>121</c:v>
                </c:pt>
              </c:numCache>
            </c:numRef>
          </c:val>
          <c:extLst>
            <c:ext xmlns:c16="http://schemas.microsoft.com/office/drawing/2014/chart" uri="{C3380CC4-5D6E-409C-BE32-E72D297353CC}">
              <c16:uniqueId val="{00000002-B853-422A-9B9D-A6EAA6FFB23D}"/>
            </c:ext>
          </c:extLst>
        </c:ser>
        <c:ser>
          <c:idx val="2"/>
          <c:order val="1"/>
          <c:tx>
            <c:strRef>
              <c:f>data!$E$8</c:f>
              <c:strCache>
                <c:ptCount val="1"/>
                <c:pt idx="0">
                  <c:v>Selbstbedienung</c:v>
                </c:pt>
              </c:strCache>
            </c:strRef>
          </c:tx>
          <c:spPr>
            <a:solidFill>
              <a:schemeClr val="tx2">
                <a:lumMod val="60000"/>
                <a:lumOff val="40000"/>
              </a:schemeClr>
            </a:solidFill>
          </c:spPr>
          <c:invertIfNegative val="0"/>
          <c:dPt>
            <c:idx val="9"/>
            <c:invertIfNegative val="0"/>
            <c:bubble3D val="0"/>
            <c:extLst>
              <c:ext xmlns:c16="http://schemas.microsoft.com/office/drawing/2014/chart" uri="{C3380CC4-5D6E-409C-BE32-E72D297353CC}">
                <c16:uniqueId val="{00000003-A13B-4284-B6F4-DA5A5D4B0C07}"/>
              </c:ext>
            </c:extLst>
          </c:dPt>
          <c:dPt>
            <c:idx val="10"/>
            <c:invertIfNegative val="0"/>
            <c:bubble3D val="0"/>
            <c:spPr>
              <a:solidFill>
                <a:srgbClr val="EB0000"/>
              </a:solidFill>
            </c:spPr>
            <c:extLst>
              <c:ext xmlns:c16="http://schemas.microsoft.com/office/drawing/2014/chart" uri="{C3380CC4-5D6E-409C-BE32-E72D297353CC}">
                <c16:uniqueId val="{00000006-BA71-4AB3-9083-618CAFA0EC4A}"/>
              </c:ext>
            </c:extLst>
          </c:dPt>
          <c:cat>
            <c:numRef>
              <c:f>data!$B$9:$B$19</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data!$E$9:$E$19</c:f>
              <c:numCache>
                <c:formatCode>#,##0</c:formatCode>
                <c:ptCount val="11"/>
                <c:pt idx="0">
                  <c:v>482</c:v>
                </c:pt>
                <c:pt idx="1">
                  <c:v>491</c:v>
                </c:pt>
                <c:pt idx="2">
                  <c:v>501</c:v>
                </c:pt>
                <c:pt idx="3">
                  <c:v>505</c:v>
                </c:pt>
                <c:pt idx="4">
                  <c:v>515</c:v>
                </c:pt>
                <c:pt idx="5">
                  <c:v>530</c:v>
                </c:pt>
                <c:pt idx="6">
                  <c:v>548</c:v>
                </c:pt>
                <c:pt idx="7">
                  <c:v>576</c:v>
                </c:pt>
                <c:pt idx="8">
                  <c:v>588</c:v>
                </c:pt>
                <c:pt idx="9">
                  <c:v>595</c:v>
                </c:pt>
                <c:pt idx="10">
                  <c:v>590</c:v>
                </c:pt>
              </c:numCache>
            </c:numRef>
          </c:val>
          <c:extLst>
            <c:ext xmlns:c16="http://schemas.microsoft.com/office/drawing/2014/chart" uri="{C3380CC4-5D6E-409C-BE32-E72D297353CC}">
              <c16:uniqueId val="{00000004-B853-422A-9B9D-A6EAA6FFB23D}"/>
            </c:ext>
          </c:extLst>
        </c:ser>
        <c:ser>
          <c:idx val="1"/>
          <c:order val="2"/>
          <c:tx>
            <c:strRef>
              <c:f>data!$D$8</c:f>
              <c:strCache>
                <c:ptCount val="1"/>
                <c:pt idx="0">
                  <c:v>Bedient durch Agenturen</c:v>
                </c:pt>
              </c:strCache>
            </c:strRef>
          </c:tx>
          <c:spPr>
            <a:solidFill>
              <a:schemeClr val="accent5"/>
            </a:solidFill>
          </c:spPr>
          <c:invertIfNegative val="0"/>
          <c:cat>
            <c:numRef>
              <c:f>data!$B$9:$B$19</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data!$D$9:$D$19</c:f>
              <c:numCache>
                <c:formatCode>#,##0</c:formatCode>
                <c:ptCount val="11"/>
                <c:pt idx="0">
                  <c:v>57</c:v>
                </c:pt>
                <c:pt idx="1">
                  <c:v>53</c:v>
                </c:pt>
                <c:pt idx="2">
                  <c:v>50</c:v>
                </c:pt>
                <c:pt idx="3">
                  <c:v>49</c:v>
                </c:pt>
                <c:pt idx="4">
                  <c:v>48</c:v>
                </c:pt>
                <c:pt idx="5">
                  <c:v>46</c:v>
                </c:pt>
                <c:pt idx="6">
                  <c:v>27</c:v>
                </c:pt>
                <c:pt idx="7">
                  <c:v>0</c:v>
                </c:pt>
                <c:pt idx="8">
                  <c:v>0</c:v>
                </c:pt>
                <c:pt idx="9">
                  <c:v>0</c:v>
                </c:pt>
                <c:pt idx="10">
                  <c:v>0</c:v>
                </c:pt>
              </c:numCache>
            </c:numRef>
          </c:val>
          <c:extLst>
            <c:ext xmlns:c16="http://schemas.microsoft.com/office/drawing/2014/chart" uri="{C3380CC4-5D6E-409C-BE32-E72D297353CC}">
              <c16:uniqueId val="{00000003-B853-422A-9B9D-A6EAA6FFB23D}"/>
            </c:ext>
          </c:extLst>
        </c:ser>
        <c:dLbls>
          <c:showLegendKey val="0"/>
          <c:showVal val="0"/>
          <c:showCatName val="0"/>
          <c:showSerName val="0"/>
          <c:showPercent val="0"/>
          <c:showBubbleSize val="0"/>
        </c:dLbls>
        <c:gapWidth val="150"/>
        <c:overlap val="100"/>
        <c:axId val="96041216"/>
        <c:axId val="96043008"/>
      </c:barChart>
      <c:catAx>
        <c:axId val="96041216"/>
        <c:scaling>
          <c:orientation val="minMax"/>
        </c:scaling>
        <c:delete val="0"/>
        <c:axPos val="b"/>
        <c:numFmt formatCode="General" sourceLinked="1"/>
        <c:majorTickMark val="none"/>
        <c:minorTickMark val="none"/>
        <c:tickLblPos val="nextTo"/>
        <c:spPr>
          <a:ln w="9525">
            <a:solidFill>
              <a:srgbClr val="5A5A5A"/>
            </a:solidFill>
          </a:ln>
        </c:spPr>
        <c:txPr>
          <a:bodyPr rot="0" vert="horz"/>
          <a:lstStyle/>
          <a:p>
            <a:pPr>
              <a:defRPr sz="1100">
                <a:solidFill>
                  <a:schemeClr val="tx2"/>
                </a:solidFill>
              </a:defRPr>
            </a:pPr>
            <a:endParaRPr lang="de-DE"/>
          </a:p>
        </c:txPr>
        <c:crossAx val="96043008"/>
        <c:crosses val="autoZero"/>
        <c:auto val="1"/>
        <c:lblAlgn val="ctr"/>
        <c:lblOffset val="100"/>
        <c:noMultiLvlLbl val="0"/>
      </c:catAx>
      <c:valAx>
        <c:axId val="96043008"/>
        <c:scaling>
          <c:orientation val="minMax"/>
          <c:max val="800"/>
          <c:min val="0"/>
        </c:scaling>
        <c:delete val="0"/>
        <c:axPos val="l"/>
        <c:majorGridlines>
          <c:spPr>
            <a:ln>
              <a:solidFill>
                <a:schemeClr val="accent5"/>
              </a:solidFill>
            </a:ln>
          </c:spPr>
        </c:majorGridlines>
        <c:numFmt formatCode="#\ ##0" sourceLinked="0"/>
        <c:majorTickMark val="out"/>
        <c:minorTickMark val="none"/>
        <c:tickLblPos val="nextTo"/>
        <c:spPr>
          <a:ln>
            <a:noFill/>
          </a:ln>
        </c:spPr>
        <c:txPr>
          <a:bodyPr/>
          <a:lstStyle/>
          <a:p>
            <a:pPr>
              <a:defRPr sz="1100">
                <a:solidFill>
                  <a:schemeClr val="tx2"/>
                </a:solidFill>
              </a:defRPr>
            </a:pPr>
            <a:endParaRPr lang="de-DE"/>
          </a:p>
        </c:txPr>
        <c:crossAx val="96041216"/>
        <c:crosses val="autoZero"/>
        <c:crossBetween val="between"/>
        <c:majorUnit val="200"/>
      </c:valAx>
    </c:plotArea>
    <c:legend>
      <c:legendPos val="b"/>
      <c:layout>
        <c:manualLayout>
          <c:xMode val="edge"/>
          <c:yMode val="edge"/>
          <c:x val="9.5344200858792014E-2"/>
          <c:y val="0.81846637485729923"/>
          <c:w val="0.65752549246951542"/>
          <c:h val="4.5279788943638502E-2"/>
        </c:manualLayout>
      </c:layout>
      <c:overlay val="0"/>
      <c:txPr>
        <a:bodyPr/>
        <a:lstStyle/>
        <a:p>
          <a:pPr>
            <a:defRPr sz="1100">
              <a:solidFill>
                <a:schemeClr val="tx2"/>
              </a:solidFill>
            </a:defRPr>
          </a:pPr>
          <a:endParaRPr lang="de-DE"/>
        </a:p>
      </c:txPr>
    </c:legend>
    <c:plotVisOnly val="1"/>
    <c:dispBlanksAs val="gap"/>
    <c:showDLblsOverMax val="0"/>
  </c:chart>
  <c:txPr>
    <a:bodyPr/>
    <a:lstStyle/>
    <a:p>
      <a:pPr>
        <a:defRPr sz="1800"/>
      </a:pPr>
      <a:endParaRPr lang="de-DE"/>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09501</cdr:x>
      <cdr:y>0.12016</cdr:y>
    </cdr:from>
    <cdr:to>
      <cdr:x>0.16678</cdr:x>
      <cdr:y>0.16629</cdr:y>
    </cdr:to>
    <cdr:sp macro="" textlink="">
      <cdr:nvSpPr>
        <cdr:cNvPr id="2" name="Textfeld 1"/>
        <cdr:cNvSpPr txBox="1"/>
      </cdr:nvSpPr>
      <cdr:spPr>
        <a:xfrm xmlns:a="http://schemas.openxmlformats.org/drawingml/2006/main">
          <a:off x="1051404" y="630374"/>
          <a:ext cx="794224" cy="241980"/>
        </a:xfrm>
        <a:prstGeom xmlns:a="http://schemas.openxmlformats.org/drawingml/2006/main" prst="rect">
          <a:avLst/>
        </a:prstGeom>
        <a:noFill xmlns:a="http://schemas.openxmlformats.org/drawingml/2006/main"/>
      </cdr:spPr>
      <cdr:txBody>
        <a:bodyPr xmlns:a="http://schemas.openxmlformats.org/drawingml/2006/main" vertOverflow="clip" wrap="square" lIns="36000" tIns="36000" rIns="36000" bIns="36000" rtlCol="0">
          <a:spAutoFit/>
        </a:bodyPr>
        <a:lstStyle xmlns:a="http://schemas.openxmlformats.org/drawingml/2006/main"/>
        <a:p xmlns:a="http://schemas.openxmlformats.org/drawingml/2006/main">
          <a:r>
            <a:rPr lang="de-CH" sz="1100" dirty="0">
              <a:solidFill>
                <a:schemeClr val="tx2"/>
              </a:solidFill>
            </a:rPr>
            <a:t>Anzahl</a:t>
          </a:r>
          <a:endParaRPr lang="de-CH" sz="1100" dirty="0">
            <a:solidFill>
              <a:schemeClr val="tx2"/>
            </a:solidFill>
            <a:latin typeface="Arial" pitchFamily="34" charset="0"/>
            <a:cs typeface="Arial"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CH"/>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5975E2-D668-4E51-9A3C-34EDD7C4EB22}" type="datetimeFigureOut">
              <a:rPr lang="de-CH" smtClean="0"/>
              <a:t>25.02.2025</a:t>
            </a:fld>
            <a:endParaRPr lang="de-CH"/>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CH"/>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DDECC79-EE51-48EB-A65E-A2A214B69F64}" type="slidenum">
              <a:rPr lang="de-CH" smtClean="0"/>
              <a:t>‹Nr.›</a:t>
            </a:fld>
            <a:endParaRPr lang="de-CH"/>
          </a:p>
        </p:txBody>
      </p:sp>
    </p:spTree>
    <p:extLst>
      <p:ext uri="{BB962C8B-B14F-4D97-AF65-F5344CB8AC3E}">
        <p14:creationId xmlns:p14="http://schemas.microsoft.com/office/powerpoint/2010/main" val="2415436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ußzeilenplatzhalter 3"/>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a:ln>
                  <a:noFill/>
                </a:ln>
                <a:solidFill>
                  <a:prstClr val="black"/>
                </a:solidFill>
                <a:effectLst/>
                <a:uLnTx/>
                <a:uFillTx/>
                <a:latin typeface="Calibri" panose="020F0502020204030204"/>
                <a:ea typeface="+mn-ea"/>
                <a:cs typeface="+mn-cs"/>
              </a:rPr>
              <a:t>SBB • Division • Abteilung oder Bereich • DD.MM.YY</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liennummernplatzhalt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D26404-58E8-4486-905C-9BBBD7B83F8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62221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724800" y="4773149"/>
            <a:ext cx="11032720" cy="614400"/>
          </a:xfrm>
        </p:spPr>
        <p:txBody>
          <a:bodyPr wrap="square"/>
          <a:lstStyle>
            <a:lvl1pPr>
              <a:defRPr sz="4000"/>
            </a:lvl1pPr>
          </a:lstStyle>
          <a:p>
            <a:r>
              <a:rPr lang="de-DE"/>
              <a:t>Dies ist der Titel der Präsentation.</a:t>
            </a:r>
            <a:endParaRPr lang="de-CH"/>
          </a:p>
        </p:txBody>
      </p:sp>
      <p:sp>
        <p:nvSpPr>
          <p:cNvPr id="6" name="Textplatzhalter 5"/>
          <p:cNvSpPr>
            <a:spLocks noGrp="1"/>
          </p:cNvSpPr>
          <p:nvPr>
            <p:ph type="body" sz="quarter" idx="12" hasCustomPrompt="1"/>
          </p:nvPr>
        </p:nvSpPr>
        <p:spPr>
          <a:xfrm>
            <a:off x="724799" y="5521949"/>
            <a:ext cx="11033404" cy="326400"/>
          </a:xfrm>
        </p:spPr>
        <p:txBody>
          <a:bodyPr/>
          <a:lstStyle>
            <a:lvl1pPr marL="0" indent="0">
              <a:buNone/>
              <a:defRPr sz="2133" baseline="0"/>
            </a:lvl1pPr>
          </a:lstStyle>
          <a:p>
            <a:pPr lvl="0"/>
            <a:r>
              <a:rPr lang="de-DE"/>
              <a:t>Name Vortragender, Ort, Datum</a:t>
            </a:r>
          </a:p>
        </p:txBody>
      </p:sp>
      <p:pic>
        <p:nvPicPr>
          <p:cNvPr id="4" name="Logo_SBB_Cargo_D" hidden="1">
            <a:extLst>
              <a:ext uri="{FF2B5EF4-FFF2-40B4-BE49-F238E27FC236}">
                <a16:creationId xmlns:a16="http://schemas.microsoft.com/office/drawing/2014/main" id="{EE6A846E-FFDC-4636-B971-92215806F7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5" name="Logo_SBB_Cargo_H" hidden="1">
            <a:extLst>
              <a:ext uri="{FF2B5EF4-FFF2-40B4-BE49-F238E27FC236}">
                <a16:creationId xmlns:a16="http://schemas.microsoft.com/office/drawing/2014/main" id="{412E2250-6FCC-421A-895D-4FBDAB73688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7" name="Logo_SBB_CargoInt_D" hidden="1">
            <a:extLst>
              <a:ext uri="{FF2B5EF4-FFF2-40B4-BE49-F238E27FC236}">
                <a16:creationId xmlns:a16="http://schemas.microsoft.com/office/drawing/2014/main" id="{EFF1882B-601E-421B-8CD9-BC36308953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8" name="Logo_SBB_CargoInt_H" hidden="1">
            <a:extLst>
              <a:ext uri="{FF2B5EF4-FFF2-40B4-BE49-F238E27FC236}">
                <a16:creationId xmlns:a16="http://schemas.microsoft.com/office/drawing/2014/main" id="{13966A66-44EB-4089-BB9B-5E88F060073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9" name="Logo_SBB_Standard_D" hidden="1">
            <a:extLst>
              <a:ext uri="{FF2B5EF4-FFF2-40B4-BE49-F238E27FC236}">
                <a16:creationId xmlns:a16="http://schemas.microsoft.com/office/drawing/2014/main" id="{A2C0EE81-74D3-4894-8536-82B010157F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pic>
        <p:nvPicPr>
          <p:cNvPr id="10" name="Logo_SBB_Standard_H">
            <a:extLst>
              <a:ext uri="{FF2B5EF4-FFF2-40B4-BE49-F238E27FC236}">
                <a16:creationId xmlns:a16="http://schemas.microsoft.com/office/drawing/2014/main" id="{2470208F-A15C-4C0F-9FD1-3CC76EF6D56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00003" y="432000"/>
            <a:ext cx="2791575" cy="312000"/>
          </a:xfrm>
          <a:prstGeom prst="rect">
            <a:avLst/>
          </a:prstGeom>
        </p:spPr>
      </p:pic>
    </p:spTree>
    <p:extLst>
      <p:ext uri="{BB962C8B-B14F-4D97-AF65-F5344CB8AC3E}">
        <p14:creationId xmlns:p14="http://schemas.microsoft.com/office/powerpoint/2010/main" val="1519107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
    <p:spTree>
      <p:nvGrpSpPr>
        <p:cNvPr id="1" name=""/>
        <p:cNvGrpSpPr/>
        <p:nvPr/>
      </p:nvGrpSpPr>
      <p:grpSpPr>
        <a:xfrm>
          <a:off x="0" y="0"/>
          <a:ext cx="0" cy="0"/>
          <a:chOff x="0" y="0"/>
          <a:chExt cx="0" cy="0"/>
        </a:xfrm>
      </p:grpSpPr>
      <p:pic>
        <p:nvPicPr>
          <p:cNvPr id="2" name="Logo_SBB_Symbol">
            <a:extLst>
              <a:ext uri="{FF2B5EF4-FFF2-40B4-BE49-F238E27FC236}">
                <a16:creationId xmlns:a16="http://schemas.microsoft.com/office/drawing/2014/main" id="{C55278FF-3F13-4F04-BFA6-4D49C8DADB7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9200697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folie">
    <p:bg>
      <p:bgPr>
        <a:solidFill>
          <a:schemeClr val="bg1"/>
        </a:solidFill>
        <a:effectLst/>
      </p:bgPr>
    </p:bg>
    <p:spTree>
      <p:nvGrpSpPr>
        <p:cNvPr id="1" name=""/>
        <p:cNvGrpSpPr/>
        <p:nvPr/>
      </p:nvGrpSpPr>
      <p:grpSpPr>
        <a:xfrm>
          <a:off x="0" y="0"/>
          <a:ext cx="0" cy="0"/>
          <a:chOff x="0" y="0"/>
          <a:chExt cx="0" cy="0"/>
        </a:xfrm>
      </p:grpSpPr>
      <p:sp>
        <p:nvSpPr>
          <p:cNvPr id="6" name="Freeform 1"/>
          <p:cNvSpPr/>
          <p:nvPr userDrawn="1"/>
        </p:nvSpPr>
        <p:spPr bwMode="ltGray">
          <a:xfrm>
            <a:off x="-7668" y="782129"/>
            <a:ext cx="10259683" cy="831724"/>
          </a:xfrm>
          <a:custGeom>
            <a:avLst/>
            <a:gdLst>
              <a:gd name="connsiteX0" fmla="*/ 7694762 w 7694762"/>
              <a:gd name="connsiteY0" fmla="*/ 1368725 h 4560498"/>
              <a:gd name="connsiteX1" fmla="*/ 7694762 w 7694762"/>
              <a:gd name="connsiteY1" fmla="*/ 4560498 h 4560498"/>
              <a:gd name="connsiteX2" fmla="*/ 0 w 7694762"/>
              <a:gd name="connsiteY2" fmla="*/ 4560498 h 4560498"/>
              <a:gd name="connsiteX3" fmla="*/ 0 w 7694762"/>
              <a:gd name="connsiteY3" fmla="*/ 0 h 4560498"/>
              <a:gd name="connsiteX4" fmla="*/ 7694762 w 7694762"/>
              <a:gd name="connsiteY4" fmla="*/ 1368725 h 4560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94762" h="4560498">
                <a:moveTo>
                  <a:pt x="7694762" y="1368725"/>
                </a:moveTo>
                <a:lnTo>
                  <a:pt x="7694762" y="4560498"/>
                </a:lnTo>
                <a:lnTo>
                  <a:pt x="0" y="4560498"/>
                </a:lnTo>
                <a:lnTo>
                  <a:pt x="0" y="0"/>
                </a:lnTo>
                <a:lnTo>
                  <a:pt x="7694762" y="1368725"/>
                </a:lnTo>
                <a:close/>
              </a:path>
            </a:pathLst>
          </a:custGeom>
          <a:solidFill>
            <a:srgbClr val="EB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p:cNvSpPr>
            <a:spLocks noGrp="1"/>
          </p:cNvSpPr>
          <p:nvPr>
            <p:ph type="title" hasCustomPrompt="1"/>
          </p:nvPr>
        </p:nvSpPr>
        <p:spPr>
          <a:xfrm>
            <a:off x="720000" y="2616000"/>
            <a:ext cx="9217520" cy="3984000"/>
          </a:xfrm>
          <a:prstGeom prst="rect">
            <a:avLst/>
          </a:prstGeom>
        </p:spPr>
        <p:txBody>
          <a:bodyPr wrap="square" bIns="0" anchor="t" anchorCtr="0">
            <a:noAutofit/>
          </a:bodyPr>
          <a:lstStyle>
            <a:lvl1pPr algn="l">
              <a:lnSpc>
                <a:spcPct val="100000"/>
              </a:lnSpc>
              <a:defRPr sz="4267" b="0" cap="none" baseline="0">
                <a:solidFill>
                  <a:srgbClr val="FFFFFF"/>
                </a:solidFill>
              </a:defRPr>
            </a:lvl1pPr>
          </a:lstStyle>
          <a:p>
            <a:r>
              <a:rPr lang="de-CH" noProof="0"/>
              <a:t>Der Kapiteltext hat maximal 3 Zeilen.</a:t>
            </a:r>
          </a:p>
        </p:txBody>
      </p:sp>
      <p:pic>
        <p:nvPicPr>
          <p:cNvPr id="4" name="Logo_SBB_Symbol">
            <a:extLst>
              <a:ext uri="{FF2B5EF4-FFF2-40B4-BE49-F238E27FC236}">
                <a16:creationId xmlns:a16="http://schemas.microsoft.com/office/drawing/2014/main" id="{69BA78CF-CC2D-4B72-81CD-B590B9E07C7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654234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sfolie 1 mit Bild">
    <p:bg>
      <p:bgPr>
        <a:solidFill>
          <a:schemeClr val="bg1"/>
        </a:solidFill>
        <a:effectLst/>
      </p:bgPr>
    </p:bg>
    <p:spTree>
      <p:nvGrpSpPr>
        <p:cNvPr id="1" name=""/>
        <p:cNvGrpSpPr/>
        <p:nvPr/>
      </p:nvGrpSpPr>
      <p:grpSpPr>
        <a:xfrm>
          <a:off x="0" y="0"/>
          <a:ext cx="0" cy="0"/>
          <a:chOff x="0" y="0"/>
          <a:chExt cx="0" cy="0"/>
        </a:xfrm>
      </p:grpSpPr>
      <p:sp>
        <p:nvSpPr>
          <p:cNvPr id="6" name="Freeform 2"/>
          <p:cNvSpPr/>
          <p:nvPr userDrawn="1"/>
        </p:nvSpPr>
        <p:spPr>
          <a:xfrm>
            <a:off x="-19200" y="793746"/>
            <a:ext cx="4675039"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7" name="Freeform 1"/>
          <p:cNvSpPr>
            <a:spLocks/>
          </p:cNvSpPr>
          <p:nvPr userDrawn="1"/>
        </p:nvSpPr>
        <p:spPr>
          <a:xfrm>
            <a:off x="-19200" y="793746"/>
            <a:ext cx="4675039"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2" name="Title 1"/>
          <p:cNvSpPr>
            <a:spLocks noGrp="1"/>
          </p:cNvSpPr>
          <p:nvPr>
            <p:ph type="ctrTitle" hasCustomPrompt="1"/>
          </p:nvPr>
        </p:nvSpPr>
        <p:spPr>
          <a:xfrm>
            <a:off x="431374" y="1609837"/>
            <a:ext cx="3937428" cy="3163312"/>
          </a:xfrm>
          <a:prstGeom prst="rect">
            <a:avLst/>
          </a:prstGeom>
        </p:spPr>
        <p:txBody>
          <a:bodyPr wrap="square" tIns="0" bIns="0" anchor="t" anchorCtr="0">
            <a:noAutofit/>
          </a:bodyPr>
          <a:lstStyle>
            <a:lvl1pPr>
              <a:lnSpc>
                <a:spcPct val="100000"/>
              </a:lnSpc>
              <a:defRPr sz="3200" b="1" baseline="0">
                <a:solidFill>
                  <a:srgbClr val="FFFFFF"/>
                </a:solidFill>
              </a:defRPr>
            </a:lvl1pPr>
          </a:lstStyle>
          <a:p>
            <a:r>
              <a:rPr lang="de-CH"/>
              <a:t>Fügen Sie hier Ihren Text ein. Mehrere Zeilen sind möglich.</a:t>
            </a:r>
          </a:p>
        </p:txBody>
      </p:sp>
      <p:pic>
        <p:nvPicPr>
          <p:cNvPr id="5" name="Logo_SBB_Symbol">
            <a:extLst>
              <a:ext uri="{FF2B5EF4-FFF2-40B4-BE49-F238E27FC236}">
                <a16:creationId xmlns:a16="http://schemas.microsoft.com/office/drawing/2014/main" id="{4620A341-5696-4DBC-9BA9-4AE19CE248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38128828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haltsfolie 2 mit Bild">
    <p:spTree>
      <p:nvGrpSpPr>
        <p:cNvPr id="1" name=""/>
        <p:cNvGrpSpPr/>
        <p:nvPr/>
      </p:nvGrpSpPr>
      <p:grpSpPr>
        <a:xfrm>
          <a:off x="0" y="0"/>
          <a:ext cx="0" cy="0"/>
          <a:chOff x="0" y="0"/>
          <a:chExt cx="0" cy="0"/>
        </a:xfrm>
      </p:grpSpPr>
      <p:sp>
        <p:nvSpPr>
          <p:cNvPr id="10" name="Freeform 2"/>
          <p:cNvSpPr/>
          <p:nvPr userDrawn="1"/>
        </p:nvSpPr>
        <p:spPr bwMode="ltGray">
          <a:xfrm>
            <a:off x="-7668" y="797465"/>
            <a:ext cx="4700437" cy="831724"/>
          </a:xfrm>
          <a:custGeom>
            <a:avLst/>
            <a:gdLst>
              <a:gd name="connsiteX0" fmla="*/ 3525328 w 3525328"/>
              <a:gd name="connsiteY0" fmla="*/ 626853 h 4543245"/>
              <a:gd name="connsiteX1" fmla="*/ 3525328 w 3525328"/>
              <a:gd name="connsiteY1" fmla="*/ 4203940 h 4543245"/>
              <a:gd name="connsiteX2" fmla="*/ 1639019 w 3525328"/>
              <a:gd name="connsiteY2" fmla="*/ 4543245 h 4543245"/>
              <a:gd name="connsiteX3" fmla="*/ 0 w 3525328"/>
              <a:gd name="connsiteY3" fmla="*/ 4543245 h 4543245"/>
              <a:gd name="connsiteX4" fmla="*/ 0 w 3525328"/>
              <a:gd name="connsiteY4" fmla="*/ 0 h 4543245"/>
              <a:gd name="connsiteX5" fmla="*/ 3525328 w 3525328"/>
              <a:gd name="connsiteY5" fmla="*/ 626853 h 454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5328" h="4543245">
                <a:moveTo>
                  <a:pt x="3525328" y="626853"/>
                </a:moveTo>
                <a:lnTo>
                  <a:pt x="3525328" y="4203940"/>
                </a:lnTo>
                <a:lnTo>
                  <a:pt x="1639019" y="4543245"/>
                </a:lnTo>
                <a:lnTo>
                  <a:pt x="0" y="4543245"/>
                </a:lnTo>
                <a:lnTo>
                  <a:pt x="0" y="0"/>
                </a:lnTo>
                <a:lnTo>
                  <a:pt x="3525328" y="626853"/>
                </a:lnTo>
                <a:close/>
              </a:path>
            </a:pathLst>
          </a:custGeom>
          <a:solidFill>
            <a:srgbClr val="E2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11" name="Freeform 1"/>
          <p:cNvSpPr>
            <a:spLocks/>
          </p:cNvSpPr>
          <p:nvPr userDrawn="1"/>
        </p:nvSpPr>
        <p:spPr bwMode="ltGray">
          <a:xfrm>
            <a:off x="-7668" y="797465"/>
            <a:ext cx="4700437" cy="831724"/>
          </a:xfrm>
          <a:custGeom>
            <a:avLst/>
            <a:gdLst>
              <a:gd name="connsiteX0" fmla="*/ 3525328 w 3525328"/>
              <a:gd name="connsiteY0" fmla="*/ 626853 h 4543245"/>
              <a:gd name="connsiteX1" fmla="*/ 3525328 w 3525328"/>
              <a:gd name="connsiteY1" fmla="*/ 4203940 h 4543245"/>
              <a:gd name="connsiteX2" fmla="*/ 1639019 w 3525328"/>
              <a:gd name="connsiteY2" fmla="*/ 4543245 h 4543245"/>
              <a:gd name="connsiteX3" fmla="*/ 0 w 3525328"/>
              <a:gd name="connsiteY3" fmla="*/ 4543245 h 4543245"/>
              <a:gd name="connsiteX4" fmla="*/ 0 w 3525328"/>
              <a:gd name="connsiteY4" fmla="*/ 0 h 4543245"/>
              <a:gd name="connsiteX5" fmla="*/ 3525328 w 3525328"/>
              <a:gd name="connsiteY5" fmla="*/ 626853 h 4543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25328" h="4543245">
                <a:moveTo>
                  <a:pt x="3525328" y="626853"/>
                </a:moveTo>
                <a:lnTo>
                  <a:pt x="3525328" y="4203940"/>
                </a:lnTo>
                <a:lnTo>
                  <a:pt x="1639019" y="4543245"/>
                </a:lnTo>
                <a:lnTo>
                  <a:pt x="0" y="4543245"/>
                </a:lnTo>
                <a:lnTo>
                  <a:pt x="0" y="0"/>
                </a:lnTo>
                <a:lnTo>
                  <a:pt x="3525328" y="626853"/>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1"/>
          <p:cNvSpPr>
            <a:spLocks noGrp="1"/>
          </p:cNvSpPr>
          <p:nvPr>
            <p:ph type="ctrTitle" hasCustomPrompt="1"/>
          </p:nvPr>
        </p:nvSpPr>
        <p:spPr>
          <a:xfrm>
            <a:off x="431371" y="1645323"/>
            <a:ext cx="3937429" cy="4514056"/>
          </a:xfrm>
          <a:prstGeom prst="rect">
            <a:avLst/>
          </a:prstGeom>
        </p:spPr>
        <p:txBody>
          <a:bodyPr wrap="square" tIns="0" bIns="0" anchor="t" anchorCtr="0">
            <a:noAutofit/>
          </a:bodyPr>
          <a:lstStyle>
            <a:lvl1pPr>
              <a:lnSpc>
                <a:spcPct val="100000"/>
              </a:lnSpc>
              <a:defRPr sz="3200" b="1" baseline="0">
                <a:solidFill>
                  <a:srgbClr val="FFFFFF"/>
                </a:solidFill>
              </a:defRPr>
            </a:lvl1pPr>
          </a:lstStyle>
          <a:p>
            <a:r>
              <a:rPr lang="de-CH" noProof="0"/>
              <a:t>Fügen Sie hier Ihren Text ein. Mehrere Zeilen sind möglich.</a:t>
            </a:r>
          </a:p>
        </p:txBody>
      </p:sp>
      <p:pic>
        <p:nvPicPr>
          <p:cNvPr id="5" name="Logo_SBB_Symbol">
            <a:extLst>
              <a:ext uri="{FF2B5EF4-FFF2-40B4-BE49-F238E27FC236}">
                <a16:creationId xmlns:a16="http://schemas.microsoft.com/office/drawing/2014/main" id="{0DAC85A2-2540-4A41-AD82-500D72C817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12727437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Inhaltsfolie 3 mit Bild">
    <p:bg>
      <p:bgPr>
        <a:solidFill>
          <a:schemeClr val="bg1"/>
        </a:solidFill>
        <a:effectLst/>
      </p:bgPr>
    </p:bg>
    <p:spTree>
      <p:nvGrpSpPr>
        <p:cNvPr id="1" name=""/>
        <p:cNvGrpSpPr/>
        <p:nvPr/>
      </p:nvGrpSpPr>
      <p:grpSpPr>
        <a:xfrm>
          <a:off x="0" y="0"/>
          <a:ext cx="0" cy="0"/>
          <a:chOff x="0" y="0"/>
          <a:chExt cx="0" cy="0"/>
        </a:xfrm>
      </p:grpSpPr>
      <p:sp>
        <p:nvSpPr>
          <p:cNvPr id="5" name="Freeform 2"/>
          <p:cNvSpPr/>
          <p:nvPr userDrawn="1"/>
        </p:nvSpPr>
        <p:spPr bwMode="ltGray">
          <a:xfrm>
            <a:off x="-7667" y="4432061"/>
            <a:ext cx="8120332" cy="831724"/>
          </a:xfrm>
          <a:custGeom>
            <a:avLst/>
            <a:gdLst>
              <a:gd name="connsiteX0" fmla="*/ 6090249 w 6090249"/>
              <a:gd name="connsiteY0" fmla="*/ 632604 h 1823049"/>
              <a:gd name="connsiteX1" fmla="*/ 6090249 w 6090249"/>
              <a:gd name="connsiteY1" fmla="*/ 1823049 h 1823049"/>
              <a:gd name="connsiteX2" fmla="*/ 0 w 6090249"/>
              <a:gd name="connsiteY2" fmla="*/ 1823049 h 1823049"/>
              <a:gd name="connsiteX3" fmla="*/ 0 w 6090249"/>
              <a:gd name="connsiteY3" fmla="*/ 0 h 1823049"/>
              <a:gd name="connsiteX4" fmla="*/ 6090249 w 6090249"/>
              <a:gd name="connsiteY4" fmla="*/ 632604 h 1823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0249" h="1823049">
                <a:moveTo>
                  <a:pt x="6090249" y="632604"/>
                </a:moveTo>
                <a:lnTo>
                  <a:pt x="6090249" y="1823049"/>
                </a:lnTo>
                <a:lnTo>
                  <a:pt x="0" y="1823049"/>
                </a:lnTo>
                <a:lnTo>
                  <a:pt x="0" y="0"/>
                </a:lnTo>
                <a:lnTo>
                  <a:pt x="6090249" y="632604"/>
                </a:ln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8" name="Freeform 1"/>
          <p:cNvSpPr>
            <a:spLocks/>
          </p:cNvSpPr>
          <p:nvPr userDrawn="1"/>
        </p:nvSpPr>
        <p:spPr bwMode="ltGray">
          <a:xfrm>
            <a:off x="-7667" y="4432061"/>
            <a:ext cx="8120332" cy="831724"/>
          </a:xfrm>
          <a:custGeom>
            <a:avLst/>
            <a:gdLst>
              <a:gd name="connsiteX0" fmla="*/ 6090249 w 6090249"/>
              <a:gd name="connsiteY0" fmla="*/ 632604 h 1823049"/>
              <a:gd name="connsiteX1" fmla="*/ 6090249 w 6090249"/>
              <a:gd name="connsiteY1" fmla="*/ 1823049 h 1823049"/>
              <a:gd name="connsiteX2" fmla="*/ 0 w 6090249"/>
              <a:gd name="connsiteY2" fmla="*/ 1823049 h 1823049"/>
              <a:gd name="connsiteX3" fmla="*/ 0 w 6090249"/>
              <a:gd name="connsiteY3" fmla="*/ 0 h 1823049"/>
              <a:gd name="connsiteX4" fmla="*/ 6090249 w 6090249"/>
              <a:gd name="connsiteY4" fmla="*/ 632604 h 1823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0249" h="1823049">
                <a:moveTo>
                  <a:pt x="6090249" y="632604"/>
                </a:moveTo>
                <a:lnTo>
                  <a:pt x="6090249" y="1823049"/>
                </a:lnTo>
                <a:lnTo>
                  <a:pt x="0" y="1823049"/>
                </a:lnTo>
                <a:lnTo>
                  <a:pt x="0" y="0"/>
                </a:lnTo>
                <a:lnTo>
                  <a:pt x="6090249" y="632604"/>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1"/>
          <p:cNvSpPr>
            <a:spLocks noGrp="1"/>
          </p:cNvSpPr>
          <p:nvPr>
            <p:ph type="ctrTitle" hasCustomPrompt="1"/>
          </p:nvPr>
        </p:nvSpPr>
        <p:spPr>
          <a:xfrm>
            <a:off x="431800" y="5545310"/>
            <a:ext cx="7296381" cy="1052341"/>
          </a:xfrm>
          <a:prstGeom prst="rect">
            <a:avLst/>
          </a:prstGeom>
        </p:spPr>
        <p:txBody>
          <a:bodyPr wrap="square" tIns="0" bIns="0" anchor="t" anchorCtr="0">
            <a:noAutofit/>
          </a:bodyPr>
          <a:lstStyle>
            <a:lvl1pPr>
              <a:lnSpc>
                <a:spcPct val="100000"/>
              </a:lnSpc>
              <a:defRPr sz="3200" b="1" baseline="0">
                <a:solidFill>
                  <a:srgbClr val="FFFFFF"/>
                </a:solidFill>
              </a:defRPr>
            </a:lvl1pPr>
          </a:lstStyle>
          <a:p>
            <a:r>
              <a:rPr lang="de-CH" noProof="0"/>
              <a:t>Fügen Sie hier Ihren Text ein. </a:t>
            </a:r>
            <a:br>
              <a:rPr lang="de-CH" noProof="0"/>
            </a:br>
            <a:r>
              <a:rPr lang="de-CH" noProof="0"/>
              <a:t>Zwei Zeilen sind möglich.</a:t>
            </a:r>
          </a:p>
        </p:txBody>
      </p:sp>
      <p:pic>
        <p:nvPicPr>
          <p:cNvPr id="6" name="Logo_SBB_Symbol">
            <a:extLst>
              <a:ext uri="{FF2B5EF4-FFF2-40B4-BE49-F238E27FC236}">
                <a16:creationId xmlns:a16="http://schemas.microsoft.com/office/drawing/2014/main" id="{0400E809-12DA-4150-AF82-E56B110247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29475238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bg1"/>
        </a:solidFill>
        <a:effectLst/>
      </p:bgPr>
    </p:bg>
    <p:spTree>
      <p:nvGrpSpPr>
        <p:cNvPr id="1" name=""/>
        <p:cNvGrpSpPr/>
        <p:nvPr/>
      </p:nvGrpSpPr>
      <p:grpSpPr>
        <a:xfrm>
          <a:off x="0" y="0"/>
          <a:ext cx="0" cy="0"/>
          <a:chOff x="0" y="0"/>
          <a:chExt cx="0" cy="0"/>
        </a:xfrm>
      </p:grpSpPr>
      <p:sp>
        <p:nvSpPr>
          <p:cNvPr id="5" name="Freeform 2"/>
          <p:cNvSpPr/>
          <p:nvPr userDrawn="1"/>
        </p:nvSpPr>
        <p:spPr bwMode="ltGray">
          <a:xfrm>
            <a:off x="-5080" y="4429761"/>
            <a:ext cx="8122920" cy="831724"/>
          </a:xfrm>
          <a:custGeom>
            <a:avLst/>
            <a:gdLst>
              <a:gd name="connsiteX0" fmla="*/ 6092190 w 6092190"/>
              <a:gd name="connsiteY0" fmla="*/ 640080 h 1824990"/>
              <a:gd name="connsiteX1" fmla="*/ 6092190 w 6092190"/>
              <a:gd name="connsiteY1" fmla="*/ 1824990 h 1824990"/>
              <a:gd name="connsiteX2" fmla="*/ 0 w 6092190"/>
              <a:gd name="connsiteY2" fmla="*/ 1824990 h 1824990"/>
              <a:gd name="connsiteX3" fmla="*/ 0 w 6092190"/>
              <a:gd name="connsiteY3" fmla="*/ 0 h 1824990"/>
              <a:gd name="connsiteX4" fmla="*/ 6092190 w 6092190"/>
              <a:gd name="connsiteY4" fmla="*/ 640080 h 1824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2190" h="1824990">
                <a:moveTo>
                  <a:pt x="6092190" y="640080"/>
                </a:moveTo>
                <a:lnTo>
                  <a:pt x="6092190" y="1824990"/>
                </a:lnTo>
                <a:lnTo>
                  <a:pt x="0" y="1824990"/>
                </a:lnTo>
                <a:lnTo>
                  <a:pt x="0" y="0"/>
                </a:lnTo>
                <a:lnTo>
                  <a:pt x="6092190" y="640080"/>
                </a:ln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8" name="Freeform 1"/>
          <p:cNvSpPr>
            <a:spLocks/>
          </p:cNvSpPr>
          <p:nvPr userDrawn="1"/>
        </p:nvSpPr>
        <p:spPr bwMode="ltGray">
          <a:xfrm>
            <a:off x="-5080" y="4429761"/>
            <a:ext cx="8122920" cy="831724"/>
          </a:xfrm>
          <a:custGeom>
            <a:avLst/>
            <a:gdLst>
              <a:gd name="connsiteX0" fmla="*/ 6092190 w 6092190"/>
              <a:gd name="connsiteY0" fmla="*/ 640080 h 1824990"/>
              <a:gd name="connsiteX1" fmla="*/ 6092190 w 6092190"/>
              <a:gd name="connsiteY1" fmla="*/ 1824990 h 1824990"/>
              <a:gd name="connsiteX2" fmla="*/ 0 w 6092190"/>
              <a:gd name="connsiteY2" fmla="*/ 1824990 h 1824990"/>
              <a:gd name="connsiteX3" fmla="*/ 0 w 6092190"/>
              <a:gd name="connsiteY3" fmla="*/ 0 h 1824990"/>
              <a:gd name="connsiteX4" fmla="*/ 6092190 w 6092190"/>
              <a:gd name="connsiteY4" fmla="*/ 640080 h 1824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2190" h="1824990">
                <a:moveTo>
                  <a:pt x="6092190" y="640080"/>
                </a:moveTo>
                <a:lnTo>
                  <a:pt x="6092190" y="1824990"/>
                </a:lnTo>
                <a:lnTo>
                  <a:pt x="0" y="1824990"/>
                </a:lnTo>
                <a:lnTo>
                  <a:pt x="0" y="0"/>
                </a:lnTo>
                <a:lnTo>
                  <a:pt x="6092190" y="640080"/>
                </a:ln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288000" bIns="192000" rtlCol="0" anchor="t" anchorCtr="0">
            <a:spAutoFit/>
          </a:bodyPr>
          <a:lstStyle/>
          <a:p>
            <a:pPr algn="ctr"/>
            <a:endParaRPr lang="de-CH" sz="3200" b="1"/>
          </a:p>
        </p:txBody>
      </p:sp>
      <p:sp>
        <p:nvSpPr>
          <p:cNvPr id="2" name="Title 1"/>
          <p:cNvSpPr>
            <a:spLocks noGrp="1"/>
          </p:cNvSpPr>
          <p:nvPr>
            <p:ph type="ctrTitle" hasCustomPrompt="1"/>
          </p:nvPr>
        </p:nvSpPr>
        <p:spPr>
          <a:xfrm>
            <a:off x="431800" y="5641022"/>
            <a:ext cx="7296381" cy="956629"/>
          </a:xfrm>
          <a:prstGeom prst="rect">
            <a:avLst/>
          </a:prstGeom>
        </p:spPr>
        <p:txBody>
          <a:bodyPr wrap="square" tIns="0" bIns="0" anchor="t" anchorCtr="0">
            <a:noAutofit/>
          </a:bodyPr>
          <a:lstStyle>
            <a:lvl1pPr>
              <a:lnSpc>
                <a:spcPct val="100000"/>
              </a:lnSpc>
              <a:defRPr sz="3733" b="1" baseline="0">
                <a:solidFill>
                  <a:srgbClr val="FFFFFF"/>
                </a:solidFill>
              </a:defRPr>
            </a:lvl1pPr>
          </a:lstStyle>
          <a:p>
            <a:r>
              <a:rPr lang="de-CH" noProof="0"/>
              <a:t>Danke für Ihre Aufmerksamkeit.</a:t>
            </a:r>
          </a:p>
        </p:txBody>
      </p:sp>
      <p:pic>
        <p:nvPicPr>
          <p:cNvPr id="6" name="Logo_SBB_Cargo_D" hidden="1">
            <a:extLst>
              <a:ext uri="{FF2B5EF4-FFF2-40B4-BE49-F238E27FC236}">
                <a16:creationId xmlns:a16="http://schemas.microsoft.com/office/drawing/2014/main" id="{D4065558-8A0D-47BF-AD5E-F38F933913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7" name="Logo_SBB_Cargo_H" hidden="1">
            <a:extLst>
              <a:ext uri="{FF2B5EF4-FFF2-40B4-BE49-F238E27FC236}">
                <a16:creationId xmlns:a16="http://schemas.microsoft.com/office/drawing/2014/main" id="{A838A69E-C97D-4929-9329-46E4FEFFCC0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9" name="Logo_SBB_CargoInt_D" hidden="1">
            <a:extLst>
              <a:ext uri="{FF2B5EF4-FFF2-40B4-BE49-F238E27FC236}">
                <a16:creationId xmlns:a16="http://schemas.microsoft.com/office/drawing/2014/main" id="{B0B99F17-3089-4684-AF63-D1C50A56781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10" name="Logo_SBB_CargoInt_H" hidden="1">
            <a:extLst>
              <a:ext uri="{FF2B5EF4-FFF2-40B4-BE49-F238E27FC236}">
                <a16:creationId xmlns:a16="http://schemas.microsoft.com/office/drawing/2014/main" id="{85D83D19-9785-4C17-BB76-59F25553711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11" name="Logo_SBB_Standard_D" hidden="1">
            <a:extLst>
              <a:ext uri="{FF2B5EF4-FFF2-40B4-BE49-F238E27FC236}">
                <a16:creationId xmlns:a16="http://schemas.microsoft.com/office/drawing/2014/main" id="{860C43D7-48AF-4534-8923-B9081EB74F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pic>
        <p:nvPicPr>
          <p:cNvPr id="12" name="Logo_SBB_Standard_H">
            <a:extLst>
              <a:ext uri="{FF2B5EF4-FFF2-40B4-BE49-F238E27FC236}">
                <a16:creationId xmlns:a16="http://schemas.microsoft.com/office/drawing/2014/main" id="{03945263-FDE4-4196-982D-DC754FE51E4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00003" y="432000"/>
            <a:ext cx="2791575" cy="312000"/>
          </a:xfrm>
          <a:prstGeom prst="rect">
            <a:avLst/>
          </a:prstGeom>
        </p:spPr>
      </p:pic>
    </p:spTree>
    <p:extLst>
      <p:ext uri="{BB962C8B-B14F-4D97-AF65-F5344CB8AC3E}">
        <p14:creationId xmlns:p14="http://schemas.microsoft.com/office/powerpoint/2010/main" val="16902604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itelfolie SBB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5</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817355685"/>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elfolie SBB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5</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8020342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elfolie Cargo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5</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44012492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elfolie Cargo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5</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67178581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mit Bild Logo schwarz">
    <p:spTree>
      <p:nvGrpSpPr>
        <p:cNvPr id="1" name=""/>
        <p:cNvGrpSpPr/>
        <p:nvPr/>
      </p:nvGrpSpPr>
      <p:grpSpPr>
        <a:xfrm>
          <a:off x="0" y="0"/>
          <a:ext cx="0" cy="0"/>
          <a:chOff x="0" y="0"/>
          <a:chExt cx="0" cy="0"/>
        </a:xfrm>
      </p:grpSpPr>
      <p:sp>
        <p:nvSpPr>
          <p:cNvPr id="8" name="Freeform 2"/>
          <p:cNvSpPr>
            <a:spLocks/>
          </p:cNvSpPr>
          <p:nvPr userDrawn="1"/>
        </p:nvSpPr>
        <p:spPr>
          <a:xfrm>
            <a:off x="-19200" y="768897"/>
            <a:ext cx="4675040"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E20000">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9" name="Freeform 1"/>
          <p:cNvSpPr/>
          <p:nvPr userDrawn="1"/>
        </p:nvSpPr>
        <p:spPr>
          <a:xfrm>
            <a:off x="-19200" y="768895"/>
            <a:ext cx="4675039" cy="831724"/>
          </a:xfrm>
          <a:custGeom>
            <a:avLst/>
            <a:gdLst>
              <a:gd name="connsiteX0" fmla="*/ 6350 w 3981450"/>
              <a:gd name="connsiteY0" fmla="*/ 0 h 4146550"/>
              <a:gd name="connsiteX1" fmla="*/ 3981450 w 3981450"/>
              <a:gd name="connsiteY1" fmla="*/ 704850 h 4146550"/>
              <a:gd name="connsiteX2" fmla="*/ 3981450 w 3981450"/>
              <a:gd name="connsiteY2" fmla="*/ 3454400 h 4146550"/>
              <a:gd name="connsiteX3" fmla="*/ 0 w 3981450"/>
              <a:gd name="connsiteY3" fmla="*/ 4146550 h 4146550"/>
              <a:gd name="connsiteX4" fmla="*/ 6350 w 3981450"/>
              <a:gd name="connsiteY4" fmla="*/ 0 h 414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50" h="4146550">
                <a:moveTo>
                  <a:pt x="6350" y="0"/>
                </a:moveTo>
                <a:lnTo>
                  <a:pt x="3981450" y="704850"/>
                </a:lnTo>
                <a:lnTo>
                  <a:pt x="3981450" y="3454400"/>
                </a:lnTo>
                <a:lnTo>
                  <a:pt x="0" y="4146550"/>
                </a:lnTo>
                <a:cubicBezTo>
                  <a:pt x="4233" y="2764367"/>
                  <a:pt x="12700" y="0"/>
                  <a:pt x="6350" y="0"/>
                </a:cubicBezTo>
                <a:close/>
              </a:path>
            </a:pathLst>
          </a:custGeom>
          <a:solidFill>
            <a:srgbClr val="D70000">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288000" tIns="144000" rIns="576000" bIns="192000" rtlCol="0" anchor="t" anchorCtr="0">
            <a:spAutoFit/>
          </a:bodyPr>
          <a:lstStyle/>
          <a:p>
            <a:pPr algn="ctr"/>
            <a:endParaRPr lang="de-DE" sz="3200" b="1"/>
          </a:p>
        </p:txBody>
      </p:sp>
      <p:sp>
        <p:nvSpPr>
          <p:cNvPr id="3" name="Subtitle 2"/>
          <p:cNvSpPr>
            <a:spLocks noGrp="1"/>
          </p:cNvSpPr>
          <p:nvPr>
            <p:ph type="subTitle" idx="1" hasCustomPrompt="1"/>
          </p:nvPr>
        </p:nvSpPr>
        <p:spPr>
          <a:xfrm>
            <a:off x="431372" y="4108200"/>
            <a:ext cx="3936000" cy="648000"/>
          </a:xfrm>
          <a:prstGeom prst="rect">
            <a:avLst/>
          </a:prstGeom>
        </p:spPr>
        <p:txBody>
          <a:bodyPr vert="horz" tIns="0">
            <a:noAutofit/>
          </a:bodyPr>
          <a:lstStyle>
            <a:lvl1pPr marL="0" indent="0" algn="l">
              <a:lnSpc>
                <a:spcPct val="100000"/>
              </a:lnSpc>
              <a:spcBef>
                <a:spcPts val="0"/>
              </a:spcBef>
              <a:buNone/>
              <a:defRPr sz="1867" baseline="0">
                <a:solidFill>
                  <a:srgbClr val="FFFFFF"/>
                </a:solidFill>
              </a:defRPr>
            </a:lvl1pPr>
            <a:lvl2pPr marL="544202" indent="0" algn="ctr">
              <a:buNone/>
              <a:defRPr>
                <a:solidFill>
                  <a:schemeClr val="tx1">
                    <a:tint val="75000"/>
                  </a:schemeClr>
                </a:solidFill>
              </a:defRPr>
            </a:lvl2pPr>
            <a:lvl3pPr marL="1088406" indent="0" algn="ctr">
              <a:buNone/>
              <a:defRPr>
                <a:solidFill>
                  <a:schemeClr val="tx1">
                    <a:tint val="75000"/>
                  </a:schemeClr>
                </a:solidFill>
              </a:defRPr>
            </a:lvl3pPr>
            <a:lvl4pPr marL="1632609" indent="0" algn="ctr">
              <a:buNone/>
              <a:defRPr>
                <a:solidFill>
                  <a:schemeClr val="tx1">
                    <a:tint val="75000"/>
                  </a:schemeClr>
                </a:solidFill>
              </a:defRPr>
            </a:lvl4pPr>
            <a:lvl5pPr marL="2176810" indent="0" algn="ctr">
              <a:buNone/>
              <a:defRPr>
                <a:solidFill>
                  <a:schemeClr val="tx1">
                    <a:tint val="75000"/>
                  </a:schemeClr>
                </a:solidFill>
              </a:defRPr>
            </a:lvl5pPr>
            <a:lvl6pPr marL="2721011" indent="0" algn="ctr">
              <a:buNone/>
              <a:defRPr>
                <a:solidFill>
                  <a:schemeClr val="tx1">
                    <a:tint val="75000"/>
                  </a:schemeClr>
                </a:solidFill>
              </a:defRPr>
            </a:lvl6pPr>
            <a:lvl7pPr marL="3265214" indent="0" algn="ctr">
              <a:buNone/>
              <a:defRPr>
                <a:solidFill>
                  <a:schemeClr val="tx1">
                    <a:tint val="75000"/>
                  </a:schemeClr>
                </a:solidFill>
              </a:defRPr>
            </a:lvl7pPr>
            <a:lvl8pPr marL="3809417" indent="0" algn="ctr">
              <a:buNone/>
              <a:defRPr>
                <a:solidFill>
                  <a:schemeClr val="tx1">
                    <a:tint val="75000"/>
                  </a:schemeClr>
                </a:solidFill>
              </a:defRPr>
            </a:lvl8pPr>
            <a:lvl9pPr marL="4353619" indent="0" algn="ctr">
              <a:buNone/>
              <a:defRPr>
                <a:solidFill>
                  <a:schemeClr val="tx1">
                    <a:tint val="75000"/>
                  </a:schemeClr>
                </a:solidFill>
              </a:defRPr>
            </a:lvl9pPr>
          </a:lstStyle>
          <a:p>
            <a:r>
              <a:rPr lang="de-CH" noProof="0"/>
              <a:t>Name Vortragender, Ort, Datum</a:t>
            </a:r>
          </a:p>
        </p:txBody>
      </p:sp>
      <p:sp>
        <p:nvSpPr>
          <p:cNvPr id="7" name="Title 1"/>
          <p:cNvSpPr>
            <a:spLocks noGrp="1"/>
          </p:cNvSpPr>
          <p:nvPr>
            <p:ph type="ctrTitle" hasCustomPrompt="1"/>
          </p:nvPr>
        </p:nvSpPr>
        <p:spPr>
          <a:xfrm>
            <a:off x="431372" y="1583400"/>
            <a:ext cx="3936000" cy="2131200"/>
          </a:xfrm>
          <a:prstGeom prst="rect">
            <a:avLst/>
          </a:prstGeom>
        </p:spPr>
        <p:txBody>
          <a:bodyPr vert="horz" wrap="square" bIns="0">
            <a:noAutofit/>
          </a:bodyPr>
          <a:lstStyle>
            <a:lvl1pPr>
              <a:lnSpc>
                <a:spcPct val="100000"/>
              </a:lnSpc>
              <a:defRPr sz="3200" baseline="0">
                <a:solidFill>
                  <a:srgbClr val="FFFFFF"/>
                </a:solidFill>
              </a:defRPr>
            </a:lvl1pPr>
          </a:lstStyle>
          <a:p>
            <a:r>
              <a:rPr lang="de-CH" noProof="0"/>
              <a:t>Dies ist der Titel der Präsentation.</a:t>
            </a:r>
          </a:p>
        </p:txBody>
      </p:sp>
      <p:pic>
        <p:nvPicPr>
          <p:cNvPr id="6" name="Logo_SBB_Cargo_D" hidden="1">
            <a:extLst>
              <a:ext uri="{FF2B5EF4-FFF2-40B4-BE49-F238E27FC236}">
                <a16:creationId xmlns:a16="http://schemas.microsoft.com/office/drawing/2014/main" id="{CC98CB06-C3A4-4B7F-BEBD-55BC66C124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10" name="Logo_SBB_Cargo_H" hidden="1">
            <a:extLst>
              <a:ext uri="{FF2B5EF4-FFF2-40B4-BE49-F238E27FC236}">
                <a16:creationId xmlns:a16="http://schemas.microsoft.com/office/drawing/2014/main" id="{4135C476-AE98-4106-8AE0-13D2AE743AC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088001" y="432000"/>
            <a:ext cx="3592951" cy="312083"/>
          </a:xfrm>
          <a:prstGeom prst="rect">
            <a:avLst/>
          </a:prstGeom>
        </p:spPr>
      </p:pic>
      <p:pic>
        <p:nvPicPr>
          <p:cNvPr id="11" name="Logo_SBB_CargoInt_D" hidden="1">
            <a:extLst>
              <a:ext uri="{FF2B5EF4-FFF2-40B4-BE49-F238E27FC236}">
                <a16:creationId xmlns:a16="http://schemas.microsoft.com/office/drawing/2014/main" id="{FD12A7B3-71B9-494B-91E8-8FFF57D1E04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459201" y="432017"/>
            <a:ext cx="4217116" cy="312083"/>
          </a:xfrm>
          <a:prstGeom prst="rect">
            <a:avLst/>
          </a:prstGeom>
        </p:spPr>
      </p:pic>
      <p:pic>
        <p:nvPicPr>
          <p:cNvPr id="12" name="Logo_SBB_CargoInt_H" hidden="1">
            <a:extLst>
              <a:ext uri="{FF2B5EF4-FFF2-40B4-BE49-F238E27FC236}">
                <a16:creationId xmlns:a16="http://schemas.microsoft.com/office/drawing/2014/main" id="{131A7DC8-9674-490D-A909-613CE2451C2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459201" y="432000"/>
            <a:ext cx="4217116" cy="312083"/>
          </a:xfrm>
          <a:prstGeom prst="rect">
            <a:avLst/>
          </a:prstGeom>
        </p:spPr>
      </p:pic>
      <p:pic>
        <p:nvPicPr>
          <p:cNvPr id="13" name="Logo_SBB_Standard_D" hidden="1">
            <a:extLst>
              <a:ext uri="{FF2B5EF4-FFF2-40B4-BE49-F238E27FC236}">
                <a16:creationId xmlns:a16="http://schemas.microsoft.com/office/drawing/2014/main" id="{846D5CAE-9CEF-48FD-827D-D7616C83ECB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00001" y="432001"/>
            <a:ext cx="2807092" cy="313735"/>
          </a:xfrm>
          <a:prstGeom prst="rect">
            <a:avLst/>
          </a:prstGeom>
        </p:spPr>
      </p:pic>
      <p:pic>
        <p:nvPicPr>
          <p:cNvPr id="14" name="Logo_SBB_Standard_H">
            <a:extLst>
              <a:ext uri="{FF2B5EF4-FFF2-40B4-BE49-F238E27FC236}">
                <a16:creationId xmlns:a16="http://schemas.microsoft.com/office/drawing/2014/main" id="{1A09026F-AB72-4393-BAF3-D0CF774B487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000003" y="432000"/>
            <a:ext cx="2791575" cy="312000"/>
          </a:xfrm>
          <a:prstGeom prst="rect">
            <a:avLst/>
          </a:prstGeom>
        </p:spPr>
      </p:pic>
    </p:spTree>
    <p:extLst>
      <p:ext uri="{BB962C8B-B14F-4D97-AF65-F5344CB8AC3E}">
        <p14:creationId xmlns:p14="http://schemas.microsoft.com/office/powerpoint/2010/main" val="23247599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Zwischen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6" name="Datumsplatzhalter 5"/>
          <p:cNvSpPr>
            <a:spLocks noGrp="1"/>
          </p:cNvSpPr>
          <p:nvPr>
            <p:ph type="dt" sz="half" idx="10"/>
          </p:nvPr>
        </p:nvSpPr>
        <p:spPr/>
        <p:txBody>
          <a:bodyPr/>
          <a:lstStyle/>
          <a:p>
            <a:fld id="{1BE51F75-5448-4F8E-A0A6-8542A1C2DF3D}"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4" name="Textplatzhalter 3">
            <a:extLst>
              <a:ext uri="{FF2B5EF4-FFF2-40B4-BE49-F238E27FC236}">
                <a16:creationId xmlns:a16="http://schemas.microsoft.com/office/drawing/2014/main" id="{C3BF9167-FA0E-41AA-AD3E-DD73E73C0289}"/>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540885940"/>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Zwischentitel grau">
    <p:bg>
      <p:bgPr>
        <a:solidFill>
          <a:schemeClr val="bg2"/>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BE51F75-5448-4F8E-A0A6-8542A1C2DF3D}"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Titel 1">
            <a:extLst>
              <a:ext uri="{FF2B5EF4-FFF2-40B4-BE49-F238E27FC236}">
                <a16:creationId xmlns:a16="http://schemas.microsoft.com/office/drawing/2014/main" id="{A1C0D8B2-21FB-408E-8F45-4FF07F7C9231}"/>
              </a:ext>
            </a:extLst>
          </p:cNvPr>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10" name="Textplatzhalter 3">
            <a:extLst>
              <a:ext uri="{FF2B5EF4-FFF2-40B4-BE49-F238E27FC236}">
                <a16:creationId xmlns:a16="http://schemas.microsoft.com/office/drawing/2014/main" id="{97D0A394-EC1C-44E9-9B81-C9A02683B8E8}"/>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534962030"/>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guide id="3" orient="horz" pos="113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11" name="Textplatzhalter 11">
            <a:extLst>
              <a:ext uri="{FF2B5EF4-FFF2-40B4-BE49-F238E27FC236}">
                <a16:creationId xmlns:a16="http://schemas.microsoft.com/office/drawing/2014/main" id="{EA1A02B1-1978-4A3B-80F7-766D1FB44F86}"/>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16" name="Textplatzhalter 15">
            <a:extLst>
              <a:ext uri="{FF2B5EF4-FFF2-40B4-BE49-F238E27FC236}">
                <a16:creationId xmlns:a16="http://schemas.microsoft.com/office/drawing/2014/main" id="{D8CF4041-AA59-42D9-BE67-DE9BDA6E921D}"/>
              </a:ext>
            </a:extLst>
          </p:cNvPr>
          <p:cNvSpPr>
            <a:spLocks noGrp="1"/>
          </p:cNvSpPr>
          <p:nvPr>
            <p:ph type="body" sz="quarter" idx="18" hasCustomPrompt="1"/>
          </p:nvPr>
        </p:nvSpPr>
        <p:spPr>
          <a:xfrm>
            <a:off x="4367808" y="1736725"/>
            <a:ext cx="7279680" cy="3348038"/>
          </a:xfrm>
        </p:spPr>
        <p:txBody>
          <a:bodyPr anchor="ctr"/>
          <a:lstStyle>
            <a:lvl1pPr>
              <a:defRPr sz="3200">
                <a:solidFill>
                  <a:schemeClr val="bg1"/>
                </a:solidFill>
              </a:defRPr>
            </a:lvl1pPr>
            <a:lvl2pPr>
              <a:spcBef>
                <a:spcPts val="1800"/>
              </a:spcBef>
              <a:buFontTx/>
              <a:buNone/>
              <a:defRPr sz="1600">
                <a:solidFill>
                  <a:schemeClr val="bg1"/>
                </a:solidFill>
              </a:defRPr>
            </a:lvl2pPr>
          </a:lstStyle>
          <a:p>
            <a:pPr lvl="0"/>
            <a:r>
              <a:rPr lang="de-CH" noProof="0"/>
              <a:t>«Zitat hinzufügen»</a:t>
            </a:r>
          </a:p>
          <a:p>
            <a:pPr lvl="1"/>
            <a:r>
              <a:rPr lang="de-CH" noProof="0"/>
              <a:t>Zweite Ebene</a:t>
            </a:r>
          </a:p>
        </p:txBody>
      </p:sp>
      <p:sp>
        <p:nvSpPr>
          <p:cNvPr id="6" name="Datumsplatzhalter 5"/>
          <p:cNvSpPr>
            <a:spLocks noGrp="1"/>
          </p:cNvSpPr>
          <p:nvPr>
            <p:ph type="dt" sz="half" idx="10"/>
          </p:nvPr>
        </p:nvSpPr>
        <p:spPr/>
        <p:txBody>
          <a:bodyPr/>
          <a:lstStyle>
            <a:lvl1pPr>
              <a:defRPr>
                <a:solidFill>
                  <a:schemeClr val="bg1"/>
                </a:solidFill>
              </a:defRPr>
            </a:lvl1pPr>
          </a:lstStyle>
          <a:p>
            <a:fld id="{19157058-9CCA-4EAA-8D6E-1E10DBF3C026}" type="datetimeyyyy">
              <a:rPr lang="de-CH" smtClean="0"/>
              <a:pPr/>
              <a:t>2025</a:t>
            </a:fld>
            <a:endParaRPr lang="de-CH"/>
          </a:p>
        </p:txBody>
      </p:sp>
      <p:sp>
        <p:nvSpPr>
          <p:cNvPr id="7" name="Fußzeilenplatzhalter 6"/>
          <p:cNvSpPr>
            <a:spLocks noGrp="1"/>
          </p:cNvSpPr>
          <p:nvPr>
            <p:ph type="ftr" sz="quarter" idx="11"/>
          </p:nvPr>
        </p:nvSpPr>
        <p:spPr/>
        <p:txBody>
          <a:bodyPr/>
          <a:lstStyle>
            <a:lvl1pPr>
              <a:defRPr>
                <a:solidFill>
                  <a:schemeClr val="bg1"/>
                </a:solidFill>
              </a:defRPr>
            </a:lvl1p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lvl1pPr>
              <a:defRPr>
                <a:solidFill>
                  <a:schemeClr val="bg1"/>
                </a:solidFill>
              </a:defRPr>
            </a:lvl1pPr>
          </a:lstStyle>
          <a:p>
            <a:fld id="{442AD375-037F-43D0-B059-5172DA06796A}" type="slidenum">
              <a:rPr lang="de-CH" smtClean="0"/>
              <a:pPr/>
              <a:t>‹Nr.›</a:t>
            </a:fld>
            <a:endParaRPr lang="de-CH"/>
          </a:p>
        </p:txBody>
      </p:sp>
    </p:spTree>
    <p:extLst>
      <p:ext uri="{BB962C8B-B14F-4D97-AF65-F5344CB8AC3E}">
        <p14:creationId xmlns:p14="http://schemas.microsoft.com/office/powerpoint/2010/main" val="2713129732"/>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lvl1pPr marL="514800" indent="-514800">
              <a:spcAft>
                <a:spcPts val="0"/>
              </a:spcAft>
              <a:buClr>
                <a:schemeClr val="tx2"/>
              </a:buClr>
              <a:buFont typeface="+mj-lt"/>
              <a:buAutoNum type="arabicPeriod"/>
              <a:tabLst>
                <a:tab pos="2779713" algn="l"/>
              </a:tabLst>
              <a:defRPr/>
            </a:lvl1pPr>
            <a:lvl2pPr marL="863600" indent="-358775">
              <a:spcAft>
                <a:spcPts val="0"/>
              </a:spcAft>
              <a:defRPr/>
            </a:lvl2pPr>
            <a:lvl3pPr marL="1224000">
              <a:spcAft>
                <a:spcPts val="0"/>
              </a:spcAft>
              <a:defRPr/>
            </a:lvl3pPr>
            <a:lvl4pPr marL="1584000">
              <a:spcAft>
                <a:spcPts val="0"/>
              </a:spcAft>
              <a:defRPr/>
            </a:lvl4pPr>
            <a:lvl5pPr marL="1944000">
              <a:spcAft>
                <a:spcPts val="0"/>
              </a:spcAft>
              <a:defRPr/>
            </a:lvl5pPr>
            <a:lvl6pPr marL="864000" indent="-358775">
              <a:spcAft>
                <a:spcPts val="0"/>
              </a:spcAft>
              <a:defRPr/>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3" name="Titel 2">
            <a:extLst>
              <a:ext uri="{FF2B5EF4-FFF2-40B4-BE49-F238E27FC236}">
                <a16:creationId xmlns:a16="http://schemas.microsoft.com/office/drawing/2014/main" id="{8EA05E9B-3600-457E-9428-1EB1B6893A7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535939967"/>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mit Bild">
    <p:spTree>
      <p:nvGrpSpPr>
        <p:cNvPr id="1" name=""/>
        <p:cNvGrpSpPr/>
        <p:nvPr/>
      </p:nvGrpSpPr>
      <p:grpSpPr>
        <a:xfrm>
          <a:off x="0" y="0"/>
          <a:ext cx="0" cy="0"/>
          <a:chOff x="0" y="0"/>
          <a:chExt cx="0" cy="0"/>
        </a:xfrm>
      </p:grpSpPr>
      <p:sp>
        <p:nvSpPr>
          <p:cNvPr id="12" name="Bildplatzhalter 4">
            <a:extLst>
              <a:ext uri="{FF2B5EF4-FFF2-40B4-BE49-F238E27FC236}">
                <a16:creationId xmlns:a16="http://schemas.microsoft.com/office/drawing/2014/main" id="{EA3DBB68-0F3E-4EF1-88C2-B9639789CB57}"/>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4" name="Textplatzhalter 3">
            <a:extLst>
              <a:ext uri="{FF2B5EF4-FFF2-40B4-BE49-F238E27FC236}">
                <a16:creationId xmlns:a16="http://schemas.microsoft.com/office/drawing/2014/main" id="{EE4D02E2-A28A-4103-A912-AEBEEDFF1EC7}"/>
              </a:ext>
            </a:extLst>
          </p:cNvPr>
          <p:cNvSpPr>
            <a:spLocks noGrp="1"/>
          </p:cNvSpPr>
          <p:nvPr>
            <p:ph type="body" sz="quarter" idx="17"/>
          </p:nvPr>
        </p:nvSpPr>
        <p:spPr>
          <a:xfrm>
            <a:off x="1484312" y="1949450"/>
            <a:ext cx="9223376" cy="4467225"/>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3" name="Titel 2">
            <a:extLst>
              <a:ext uri="{FF2B5EF4-FFF2-40B4-BE49-F238E27FC236}">
                <a16:creationId xmlns:a16="http://schemas.microsoft.com/office/drawing/2014/main" id="{2D8A3E21-9730-4EEA-9E2B-14BFA2EF24A9}"/>
              </a:ext>
            </a:extLst>
          </p:cNvPr>
          <p:cNvSpPr>
            <a:spLocks noGrp="1"/>
          </p:cNvSpPr>
          <p:nvPr>
            <p:ph type="title" hasCustomPrompt="1"/>
          </p:nvPr>
        </p:nvSpPr>
        <p:spPr/>
        <p:txBody>
          <a:bodyPr/>
          <a:lstStyle>
            <a:lvl1pPr>
              <a:defRPr>
                <a:solidFill>
                  <a:schemeClr val="bg1"/>
                </a:solidFill>
              </a:defRPr>
            </a:lvl1pPr>
          </a:lstStyle>
          <a:p>
            <a:r>
              <a:rPr lang="de-DE"/>
              <a:t>Titel hinzufügen.</a:t>
            </a:r>
            <a:endParaRPr lang="de-CH"/>
          </a:p>
        </p:txBody>
      </p:sp>
      <p:sp>
        <p:nvSpPr>
          <p:cNvPr id="11" name="Textplatzhalter 11">
            <a:extLst>
              <a:ext uri="{FF2B5EF4-FFF2-40B4-BE49-F238E27FC236}">
                <a16:creationId xmlns:a16="http://schemas.microsoft.com/office/drawing/2014/main" id="{00B82B8F-16BF-4FCA-AE87-5EEA8E91DFA0}"/>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245831766"/>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Tree>
    <p:extLst>
      <p:ext uri="{BB962C8B-B14F-4D97-AF65-F5344CB8AC3E}">
        <p14:creationId xmlns:p14="http://schemas.microsoft.com/office/powerpoint/2010/main" val="2382716266"/>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228">
          <p15:clr>
            <a:srgbClr val="FBAE40"/>
          </p15:clr>
        </p15:guide>
        <p15:guide id="5" pos="7336">
          <p15:clr>
            <a:srgbClr val="FBAE40"/>
          </p15:clr>
        </p15:guide>
        <p15:guide id="6" pos="34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 und Inhalt grau">
    <p:bg>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FFABE6C4-0C31-4575-9A59-D685A98A87F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p:nvPr>
        </p:nvSpPr>
        <p:spPr>
          <a:xfrm>
            <a:off x="1487488" y="1949450"/>
            <a:ext cx="9220200" cy="4467882"/>
          </a:xfrm>
          <a:prstGeom prst="rect">
            <a:avLst/>
          </a:prstGeom>
        </p:spPr>
        <p:txBody>
          <a:bodyPr vert="horz" lIns="0" tIns="0" rIns="0" bIns="0" rtlCol="0">
            <a:no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4137415483"/>
      </p:ext>
    </p:extLst>
  </p:cSld>
  <p:clrMapOvr>
    <a:masterClrMapping/>
  </p:clrMapOvr>
  <p:extLst>
    <p:ext uri="{DCECCB84-F9BA-43D5-87BE-67443E8EF086}">
      <p15:sldGuideLst xmlns:p15="http://schemas.microsoft.com/office/powerpoint/2012/main">
        <p15:guide id="1" orient="horz" pos="4043">
          <p15:clr>
            <a:srgbClr val="FBAE40"/>
          </p15:clr>
        </p15:guide>
        <p15:guide id="2" orient="horz" pos="1228">
          <p15:clr>
            <a:srgbClr val="FBAE40"/>
          </p15:clr>
        </p15:guide>
        <p15:guide id="3" pos="932">
          <p15:clr>
            <a:srgbClr val="FBAE40"/>
          </p15:clr>
        </p15:guide>
        <p15:guide id="4" pos="6745">
          <p15:clr>
            <a:srgbClr val="FBAE40"/>
          </p15:clr>
        </p15:guide>
        <p15:guide id="5" pos="7336">
          <p15:clr>
            <a:srgbClr val="FBAE40"/>
          </p15:clr>
        </p15:guide>
        <p15:guide id="6" pos="34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3B4E90F-33B6-4714-8C8A-C32FF3072659}"/>
              </a:ext>
            </a:extLst>
          </p:cNvPr>
          <p:cNvSpPr>
            <a:spLocks noGrp="1"/>
          </p:cNvSpPr>
          <p:nvPr>
            <p:ph type="title" hasCustomPrompt="1"/>
          </p:nvPr>
        </p:nvSpPr>
        <p:spPr>
          <a:xfrm>
            <a:off x="1487488" y="493295"/>
            <a:ext cx="9004163"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945270678"/>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661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Zwei Inhalte grau">
    <p:bg>
      <p:bgPr>
        <a:solidFill>
          <a:schemeClr val="bg2"/>
        </a:solidFill>
        <a:effectLst/>
      </p:bgPr>
    </p:bg>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7D985BB-18B6-4513-922A-3940D912785F}"/>
              </a:ext>
            </a:extLst>
          </p:cNvPr>
          <p:cNvSpPr>
            <a:spLocks noGrp="1"/>
          </p:cNvSpPr>
          <p:nvPr>
            <p:ph type="title" hasCustomPrompt="1"/>
          </p:nvPr>
        </p:nvSpPr>
        <p:spPr>
          <a:xfrm>
            <a:off x="1487488" y="493295"/>
            <a:ext cx="9015412"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605572312"/>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3" pos="6616">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321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1574EBBD-E33C-4E0D-BEAA-05F39FCC7A12}"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Inhaltsplatzhalter 3">
            <a:extLst>
              <a:ext uri="{FF2B5EF4-FFF2-40B4-BE49-F238E27FC236}">
                <a16:creationId xmlns:a16="http://schemas.microsoft.com/office/drawing/2014/main" id="{2D1D70FF-B73A-44D8-AF52-B86C90DE4108}"/>
              </a:ext>
            </a:extLst>
          </p:cNvPr>
          <p:cNvSpPr>
            <a:spLocks noGrp="1"/>
          </p:cNvSpPr>
          <p:nvPr>
            <p:ph sz="quarter" idx="16"/>
          </p:nvPr>
        </p:nvSpPr>
        <p:spPr>
          <a:xfrm>
            <a:off x="5667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Inhaltsplatzhalter 3">
            <a:extLst>
              <a:ext uri="{FF2B5EF4-FFF2-40B4-BE49-F238E27FC236}">
                <a16:creationId xmlns:a16="http://schemas.microsoft.com/office/drawing/2014/main" id="{E296DA4F-01FE-48FF-9EB9-85CF5BF01B6F}"/>
              </a:ext>
            </a:extLst>
          </p:cNvPr>
          <p:cNvSpPr>
            <a:spLocks noGrp="1"/>
          </p:cNvSpPr>
          <p:nvPr>
            <p:ph sz="quarter" idx="17"/>
          </p:nvPr>
        </p:nvSpPr>
        <p:spPr>
          <a:xfrm>
            <a:off x="43039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05EF66CD-E082-4DD4-AF19-1277D4B0BAA6}"/>
              </a:ext>
            </a:extLst>
          </p:cNvPr>
          <p:cNvSpPr>
            <a:spLocks noGrp="1"/>
          </p:cNvSpPr>
          <p:nvPr>
            <p:ph sz="quarter" idx="18"/>
          </p:nvPr>
        </p:nvSpPr>
        <p:spPr>
          <a:xfrm>
            <a:off x="80411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021E2109-7BFC-4F17-81BF-01827EE4C3B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170890470"/>
      </p:ext>
    </p:extLst>
  </p:cSld>
  <p:clrMapOvr>
    <a:masterClrMapping/>
  </p:clrMapOvr>
  <p:extLst>
    <p:ext uri="{DCECCB84-F9BA-43D5-87BE-67443E8EF086}">
      <p15:sldGuideLst xmlns:p15="http://schemas.microsoft.com/office/powerpoint/2012/main">
        <p15:guide id="1" pos="349">
          <p15:clr>
            <a:srgbClr val="FBAE40"/>
          </p15:clr>
        </p15:guide>
        <p15:guide id="2" pos="2630">
          <p15:clr>
            <a:srgbClr val="FBAE40"/>
          </p15:clr>
        </p15:guide>
        <p15:guide id="3" pos="4979">
          <p15:clr>
            <a:srgbClr val="FBAE40"/>
          </p15:clr>
        </p15:guide>
        <p15:guide id="4" pos="5063">
          <p15:clr>
            <a:srgbClr val="FBAE40"/>
          </p15:clr>
        </p15:guide>
        <p15:guide id="5" pos="7336">
          <p15:clr>
            <a:srgbClr val="FBAE40"/>
          </p15:clr>
        </p15:guide>
        <p15:guide id="6" pos="2706">
          <p15:clr>
            <a:srgbClr val="FBAE40"/>
          </p15:clr>
        </p15:guide>
        <p15:guide id="7" orient="horz" pos="4043">
          <p15:clr>
            <a:srgbClr val="FBAE40"/>
          </p15:clr>
        </p15:guide>
        <p15:guide id="8" orient="horz" pos="12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Agenda.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8" name="Agenda"/>
          <p:cNvSpPr>
            <a:spLocks noGrp="1"/>
          </p:cNvSpPr>
          <p:nvPr>
            <p:ph type="body" sz="quarter" idx="12" hasCustomPrompt="1"/>
          </p:nvPr>
        </p:nvSpPr>
        <p:spPr>
          <a:xfrm>
            <a:off x="719666" y="1509185"/>
            <a:ext cx="11039215" cy="5088467"/>
          </a:xfrm>
          <a:prstGeom prst="rect">
            <a:avLst/>
          </a:prstGeom>
        </p:spPr>
        <p:txBody>
          <a:bodyPr/>
          <a:lstStyle>
            <a:lvl1pPr marL="383990" indent="-383990">
              <a:spcBef>
                <a:spcPts val="800"/>
              </a:spcBef>
              <a:buSzPct val="100000"/>
              <a:buFont typeface="+mj-lt"/>
              <a:buAutoNum type="arabicPeriod"/>
              <a:defRPr/>
            </a:lvl1pPr>
            <a:lvl2pPr marL="723882" indent="-368291">
              <a:spcBef>
                <a:spcPts val="800"/>
              </a:spcBef>
              <a:defRPr/>
            </a:lvl2pPr>
            <a:lvl3pPr marL="1077357" indent="-353475">
              <a:spcBef>
                <a:spcPts val="800"/>
              </a:spcBef>
              <a:tabLst/>
              <a:defRPr/>
            </a:lvl3pPr>
            <a:lvl4pPr marL="1430831" indent="-353475">
              <a:spcBef>
                <a:spcPts val="800"/>
              </a:spcBef>
              <a:tabLst/>
              <a:defRPr/>
            </a:lvl4pPr>
            <a:lvl5pPr marL="1786422" indent="-355591">
              <a:spcBef>
                <a:spcPts val="800"/>
              </a:spcBef>
              <a:defRPr/>
            </a:lvl5pPr>
          </a:lstStyle>
          <a:p>
            <a:pPr lvl="0"/>
            <a:r>
              <a:rPr lang="de-DE" noProof="0"/>
              <a:t>Text durch Klicken hinzufügen</a:t>
            </a:r>
          </a:p>
          <a:p>
            <a:pPr lvl="1"/>
            <a:r>
              <a:rPr lang="de-DE" noProof="0"/>
              <a:t>Zweite Ebene</a:t>
            </a:r>
          </a:p>
          <a:p>
            <a:pPr lvl="2"/>
            <a:r>
              <a:rPr lang="de-DE" noProof="0"/>
              <a:t>Dritte Ebene</a:t>
            </a:r>
          </a:p>
          <a:p>
            <a:pPr lvl="3"/>
            <a:r>
              <a:rPr lang="de-DE" noProof="0"/>
              <a:t>Vierte Ebene</a:t>
            </a:r>
          </a:p>
          <a:p>
            <a:pPr lvl="4"/>
            <a:r>
              <a:rPr lang="de-DE" noProof="0"/>
              <a:t>Fünfte Ebene</a:t>
            </a:r>
            <a:endParaRPr lang="de-CH"/>
          </a:p>
        </p:txBody>
      </p:sp>
      <p:pic>
        <p:nvPicPr>
          <p:cNvPr id="6" name="Logo_SBB_Symbol">
            <a:extLst>
              <a:ext uri="{FF2B5EF4-FFF2-40B4-BE49-F238E27FC236}">
                <a16:creationId xmlns:a16="http://schemas.microsoft.com/office/drawing/2014/main" id="{32278952-E884-4B4A-871D-42F338B3E8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38868965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er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96629306-0AA9-4524-9D9F-BF111CB62962}"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3" name="Inhaltsplatzhalter 3">
            <a:extLst>
              <a:ext uri="{FF2B5EF4-FFF2-40B4-BE49-F238E27FC236}">
                <a16:creationId xmlns:a16="http://schemas.microsoft.com/office/drawing/2014/main" id="{08517FB4-1478-449A-B35A-0071DA5D763D}"/>
              </a:ext>
            </a:extLst>
          </p:cNvPr>
          <p:cNvSpPr>
            <a:spLocks noGrp="1"/>
          </p:cNvSpPr>
          <p:nvPr>
            <p:ph sz="quarter" idx="17"/>
          </p:nvPr>
        </p:nvSpPr>
        <p:spPr>
          <a:xfrm>
            <a:off x="566738"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1A4ABB4F-2517-43F4-A0FC-DCE0C692E8FD}"/>
              </a:ext>
            </a:extLst>
          </p:cNvPr>
          <p:cNvSpPr>
            <a:spLocks noGrp="1"/>
          </p:cNvSpPr>
          <p:nvPr>
            <p:ph sz="quarter" idx="18"/>
          </p:nvPr>
        </p:nvSpPr>
        <p:spPr>
          <a:xfrm>
            <a:off x="3378201"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3">
            <a:extLst>
              <a:ext uri="{FF2B5EF4-FFF2-40B4-BE49-F238E27FC236}">
                <a16:creationId xmlns:a16="http://schemas.microsoft.com/office/drawing/2014/main" id="{722827A8-E258-45E5-8ABC-AE4AE85283F8}"/>
              </a:ext>
            </a:extLst>
          </p:cNvPr>
          <p:cNvSpPr>
            <a:spLocks noGrp="1"/>
          </p:cNvSpPr>
          <p:nvPr>
            <p:ph sz="quarter" idx="19"/>
          </p:nvPr>
        </p:nvSpPr>
        <p:spPr>
          <a:xfrm>
            <a:off x="6189664"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6" name="Inhaltsplatzhalter 3">
            <a:extLst>
              <a:ext uri="{FF2B5EF4-FFF2-40B4-BE49-F238E27FC236}">
                <a16:creationId xmlns:a16="http://schemas.microsoft.com/office/drawing/2014/main" id="{9B3F32E6-2F69-44D2-83C6-CD6AA4BEDA96}"/>
              </a:ext>
            </a:extLst>
          </p:cNvPr>
          <p:cNvSpPr>
            <a:spLocks noGrp="1"/>
          </p:cNvSpPr>
          <p:nvPr>
            <p:ph sz="quarter" idx="20"/>
          </p:nvPr>
        </p:nvSpPr>
        <p:spPr>
          <a:xfrm>
            <a:off x="9001126"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43DC29E0-21E5-4AA6-86AE-F91A14405158}"/>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961636566"/>
      </p:ext>
    </p:extLst>
  </p:cSld>
  <p:clrMapOvr>
    <a:masterClrMapping/>
  </p:clrMapOvr>
  <p:extLst>
    <p:ext uri="{DCECCB84-F9BA-43D5-87BE-67443E8EF086}">
      <p15:sldGuideLst xmlns:p15="http://schemas.microsoft.com/office/powerpoint/2012/main">
        <p15:guide id="1" pos="349">
          <p15:clr>
            <a:srgbClr val="FBAE40"/>
          </p15:clr>
        </p15:guide>
        <p15:guide id="2" pos="7336">
          <p15:clr>
            <a:srgbClr val="FBAE40"/>
          </p15:clr>
        </p15:guide>
        <p15:guide id="3" pos="5665">
          <p15:clr>
            <a:srgbClr val="FBAE40"/>
          </p15:clr>
        </p15:guide>
        <p15:guide id="4" pos="5567">
          <p15:clr>
            <a:srgbClr val="FBAE40"/>
          </p15:clr>
        </p15:guide>
        <p15:guide id="5" pos="3896">
          <p15:clr>
            <a:srgbClr val="FBAE40"/>
          </p15:clr>
        </p15:guide>
        <p15:guide id="6" pos="3793">
          <p15:clr>
            <a:srgbClr val="FBAE40"/>
          </p15:clr>
        </p15:guide>
        <p15:guide id="7" pos="2027">
          <p15:clr>
            <a:srgbClr val="FBAE40"/>
          </p15:clr>
        </p15:guide>
        <p15:guide id="8" pos="2126">
          <p15:clr>
            <a:srgbClr val="FBAE40"/>
          </p15:clr>
        </p15:guide>
        <p15:guide id="9" orient="horz" pos="1228">
          <p15:clr>
            <a:srgbClr val="FBAE40"/>
          </p15:clr>
        </p15:guide>
        <p15:guide id="10" orient="horz" pos="404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ld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959602" y="1949451"/>
            <a:ext cx="4681536" cy="4325018"/>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181DE798-3315-46D1-8982-1EC3DCDA15A7}"/>
              </a:ext>
            </a:extLst>
          </p:cNvPr>
          <p:cNvSpPr>
            <a:spLocks noGrp="1"/>
          </p:cNvSpPr>
          <p:nvPr>
            <p:ph type="title" hasCustomPrompt="1"/>
          </p:nvPr>
        </p:nvSpPr>
        <p:spPr>
          <a:xfrm>
            <a:off x="6959601" y="493295"/>
            <a:ext cx="3748087" cy="848226"/>
          </a:xfrm>
        </p:spPr>
        <p:txBody>
          <a:bodyPr/>
          <a:lstStyle>
            <a:lvl1pPr>
              <a:defRPr/>
            </a:lvl1pPr>
          </a:lstStyle>
          <a:p>
            <a:r>
              <a:rPr lang="de-DE"/>
              <a:t>Titel hinzufügen.</a:t>
            </a:r>
            <a:endParaRPr lang="de-CH"/>
          </a:p>
        </p:txBody>
      </p:sp>
      <p:sp>
        <p:nvSpPr>
          <p:cNvPr id="12" name="Bildplatzhalter 4">
            <a:extLst>
              <a:ext uri="{FF2B5EF4-FFF2-40B4-BE49-F238E27FC236}">
                <a16:creationId xmlns:a16="http://schemas.microsoft.com/office/drawing/2014/main" id="{F5AB9AC5-9618-4880-9803-18A1618DB523}"/>
              </a:ext>
            </a:extLst>
          </p:cNvPr>
          <p:cNvSpPr>
            <a:spLocks noGrp="1"/>
          </p:cNvSpPr>
          <p:nvPr>
            <p:ph type="pic" sz="quarter" idx="15"/>
          </p:nvPr>
        </p:nvSpPr>
        <p:spPr>
          <a:xfrm>
            <a:off x="0" y="584684"/>
            <a:ext cx="6040438" cy="5689116"/>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980253850"/>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4384">
          <p15:clr>
            <a:srgbClr val="FBAE40"/>
          </p15:clr>
        </p15:guide>
        <p15:guide id="4" pos="7336">
          <p15:clr>
            <a:srgbClr val="FBAE40"/>
          </p15:clr>
        </p15:guide>
        <p15:guide id="5" pos="5055">
          <p15:clr>
            <a:srgbClr val="FBAE40"/>
          </p15:clr>
        </p15:guide>
        <p15:guide id="6" pos="380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ild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8976320" y="1052736"/>
            <a:ext cx="2664817" cy="5221734"/>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1" y="1052736"/>
            <a:ext cx="8441635" cy="52217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 name="Titel 1">
            <a:extLst>
              <a:ext uri="{FF2B5EF4-FFF2-40B4-BE49-F238E27FC236}">
                <a16:creationId xmlns:a16="http://schemas.microsoft.com/office/drawing/2014/main" id="{AE50D17D-F2ED-4307-B9CF-CDFB45AF6CFA}"/>
              </a:ext>
            </a:extLst>
          </p:cNvPr>
          <p:cNvSpPr>
            <a:spLocks noGrp="1"/>
          </p:cNvSpPr>
          <p:nvPr>
            <p:ph type="title" hasCustomPrompt="1"/>
          </p:nvPr>
        </p:nvSpPr>
        <p:spPr>
          <a:xfrm>
            <a:off x="1487488" y="493295"/>
            <a:ext cx="6954146" cy="451429"/>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403190601"/>
      </p:ext>
    </p:extLst>
  </p:cSld>
  <p:clrMapOvr>
    <a:masterClrMapping/>
  </p:clrMapOvr>
  <p:extLst>
    <p:ext uri="{DCECCB84-F9BA-43D5-87BE-67443E8EF086}">
      <p15:sldGuideLst xmlns:p15="http://schemas.microsoft.com/office/powerpoint/2012/main">
        <p15:guide id="2" orient="horz" pos="3952">
          <p15:clr>
            <a:srgbClr val="FBAE40"/>
          </p15:clr>
        </p15:guide>
        <p15:guide id="4" pos="7336">
          <p15:clr>
            <a:srgbClr val="FBAE40"/>
          </p15:clr>
        </p15:guide>
        <p15:guide id="5" pos="5320">
          <p15:clr>
            <a:srgbClr val="FBAE40"/>
          </p15:clr>
        </p15:guide>
        <p15:guide id="6" orient="horz" pos="122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1243" y="1046110"/>
            <a:ext cx="5486817" cy="522216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1046109"/>
            <a:ext cx="5486817" cy="522217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4" name="Titel 3">
            <a:extLst>
              <a:ext uri="{FF2B5EF4-FFF2-40B4-BE49-F238E27FC236}">
                <a16:creationId xmlns:a16="http://schemas.microsoft.com/office/drawing/2014/main" id="{1F51E53D-C313-41FC-A50A-98353390A227}"/>
              </a:ext>
            </a:extLst>
          </p:cNvPr>
          <p:cNvSpPr>
            <a:spLocks noGrp="1"/>
          </p:cNvSpPr>
          <p:nvPr>
            <p:ph type="title" hasCustomPrompt="1"/>
          </p:nvPr>
        </p:nvSpPr>
        <p:spPr>
          <a:xfrm>
            <a:off x="559742" y="538430"/>
            <a:ext cx="5462064" cy="262689"/>
          </a:xfrm>
        </p:spPr>
        <p:txBody>
          <a:bodyPr/>
          <a:lstStyle>
            <a:lvl1pPr>
              <a:defRPr sz="1600"/>
            </a:lvl1pPr>
          </a:lstStyle>
          <a:p>
            <a:r>
              <a:rPr lang="de-DE"/>
              <a:t>Titel hinzufügen.</a:t>
            </a:r>
            <a:endParaRPr lang="de-CH"/>
          </a:p>
        </p:txBody>
      </p:sp>
      <p:sp>
        <p:nvSpPr>
          <p:cNvPr id="6" name="Textplatzhalter 5">
            <a:extLst>
              <a:ext uri="{FF2B5EF4-FFF2-40B4-BE49-F238E27FC236}">
                <a16:creationId xmlns:a16="http://schemas.microsoft.com/office/drawing/2014/main" id="{2B014520-9BB1-4AC3-9DDF-40162DCBE21F}"/>
              </a:ext>
            </a:extLst>
          </p:cNvPr>
          <p:cNvSpPr>
            <a:spLocks noGrp="1"/>
          </p:cNvSpPr>
          <p:nvPr>
            <p:ph type="body" sz="quarter" idx="17" hasCustomPrompt="1"/>
          </p:nvPr>
        </p:nvSpPr>
        <p:spPr>
          <a:xfrm>
            <a:off x="6167438" y="538430"/>
            <a:ext cx="454025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2543550691"/>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655">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Zwei Bilder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5472502"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166768" y="3609019"/>
            <a:ext cx="5474369"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436" y="584684"/>
            <a:ext cx="5474369"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584683"/>
            <a:ext cx="5474369" cy="277764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2228515779"/>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Zwei Bilder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557964" y="1949451"/>
            <a:ext cx="5083174" cy="4325018"/>
          </a:xfrm>
        </p:spPr>
        <p:txBody>
          <a:bodyPr/>
          <a:lstStyle>
            <a:lvl1pPr>
              <a:lnSpc>
                <a:spcPct val="112000"/>
              </a:lnSpc>
              <a:defRPr sz="1400"/>
            </a:lvl1pPr>
            <a:lvl2pPr marL="216000" indent="-216000">
              <a:lnSpc>
                <a:spcPct val="112000"/>
              </a:lnSpc>
              <a:defRPr sz="1400"/>
            </a:lvl2pPr>
            <a:lvl3pPr marL="432000" indent="-216000">
              <a:lnSpc>
                <a:spcPct val="112000"/>
              </a:lnSpc>
              <a:defRPr sz="1400"/>
            </a:lvl3pPr>
            <a:lvl4pPr marL="648000" indent="-216000">
              <a:lnSpc>
                <a:spcPct val="112000"/>
              </a:lnSpc>
              <a:defRPr sz="1400"/>
            </a:lvl4pPr>
            <a:lvl5pPr marL="864000" indent="-216000">
              <a:lnSpc>
                <a:spcPct val="112000"/>
              </a:lnSpc>
              <a:defRPr sz="1400"/>
            </a:lvl5pPr>
            <a:lvl6pPr marL="216000" indent="-216000">
              <a:lnSpc>
                <a:spcPct val="112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550862" y="584684"/>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6C4C6B99-9B0B-4488-BFD9-0201BA21A7D1}"/>
              </a:ext>
            </a:extLst>
          </p:cNvPr>
          <p:cNvSpPr>
            <a:spLocks noGrp="1"/>
          </p:cNvSpPr>
          <p:nvPr>
            <p:ph type="pic" sz="quarter" idx="15"/>
          </p:nvPr>
        </p:nvSpPr>
        <p:spPr>
          <a:xfrm>
            <a:off x="550862" y="3501492"/>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3" name="Titel 2">
            <a:extLst>
              <a:ext uri="{FF2B5EF4-FFF2-40B4-BE49-F238E27FC236}">
                <a16:creationId xmlns:a16="http://schemas.microsoft.com/office/drawing/2014/main" id="{28C76682-594C-451F-B868-929E3C271970}"/>
              </a:ext>
            </a:extLst>
          </p:cNvPr>
          <p:cNvSpPr>
            <a:spLocks noGrp="1"/>
          </p:cNvSpPr>
          <p:nvPr>
            <p:ph type="title" hasCustomPrompt="1"/>
          </p:nvPr>
        </p:nvSpPr>
        <p:spPr>
          <a:xfrm>
            <a:off x="6557962" y="493295"/>
            <a:ext cx="4149726"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699428197"/>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3805">
          <p15:clr>
            <a:srgbClr val="FBAE40"/>
          </p15:clr>
        </p15:guide>
        <p15:guide id="4" pos="7336">
          <p15:clr>
            <a:srgbClr val="FBAE40"/>
          </p15:clr>
        </p15:guide>
        <p15:guide id="5" pos="4131">
          <p15:clr>
            <a:srgbClr val="FBAE40"/>
          </p15:clr>
        </p15:guide>
        <p15:guide id="6" pos="345">
          <p15:clr>
            <a:srgbClr val="FBAE40"/>
          </p15:clr>
        </p15:guide>
        <p15:guide id="7" orient="horz" pos="2118">
          <p15:clr>
            <a:srgbClr val="FBAE40"/>
          </p15:clr>
        </p15:guide>
        <p15:guide id="8" orient="horz" pos="220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74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441"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Titel 3">
            <a:extLst>
              <a:ext uri="{FF2B5EF4-FFF2-40B4-BE49-F238E27FC236}">
                <a16:creationId xmlns:a16="http://schemas.microsoft.com/office/drawing/2014/main" id="{8D7BA7E7-E234-4A0A-84DE-57AA9B9057CE}"/>
              </a:ext>
            </a:extLst>
          </p:cNvPr>
          <p:cNvSpPr>
            <a:spLocks noGrp="1"/>
          </p:cNvSpPr>
          <p:nvPr>
            <p:ph type="title" hasCustomPrompt="1"/>
          </p:nvPr>
        </p:nvSpPr>
        <p:spPr>
          <a:xfrm>
            <a:off x="547746" y="538430"/>
            <a:ext cx="3600000" cy="262689"/>
          </a:xfrm>
        </p:spPr>
        <p:txBody>
          <a:bodyPr/>
          <a:lstStyle>
            <a:lvl1pPr>
              <a:defRPr sz="1600"/>
            </a:lvl1pPr>
          </a:lstStyle>
          <a:p>
            <a:r>
              <a:rPr lang="de-DE"/>
              <a:t>Titel hinzufügen.</a:t>
            </a:r>
            <a:endParaRPr lang="de-CH"/>
          </a:p>
        </p:txBody>
      </p:sp>
      <p:sp>
        <p:nvSpPr>
          <p:cNvPr id="16" name="Textplatzhalter 5">
            <a:extLst>
              <a:ext uri="{FF2B5EF4-FFF2-40B4-BE49-F238E27FC236}">
                <a16:creationId xmlns:a16="http://schemas.microsoft.com/office/drawing/2014/main" id="{6BE1D084-20F1-40AB-A68B-EA733A683D45}"/>
              </a:ext>
            </a:extLst>
          </p:cNvPr>
          <p:cNvSpPr>
            <a:spLocks noGrp="1"/>
          </p:cNvSpPr>
          <p:nvPr>
            <p:ph type="body" sz="quarter" idx="19" hasCustomPrompt="1"/>
          </p:nvPr>
        </p:nvSpPr>
        <p:spPr>
          <a:xfrm>
            <a:off x="4289425" y="538430"/>
            <a:ext cx="36000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
        <p:nvSpPr>
          <p:cNvPr id="19" name="Textplatzhalter 5">
            <a:extLst>
              <a:ext uri="{FF2B5EF4-FFF2-40B4-BE49-F238E27FC236}">
                <a16:creationId xmlns:a16="http://schemas.microsoft.com/office/drawing/2014/main" id="{38CE26F8-95BC-41DC-8383-7DFCBA2157F5}"/>
              </a:ext>
            </a:extLst>
          </p:cNvPr>
          <p:cNvSpPr>
            <a:spLocks noGrp="1"/>
          </p:cNvSpPr>
          <p:nvPr>
            <p:ph type="body" sz="quarter" idx="20" hasCustomPrompt="1"/>
          </p:nvPr>
        </p:nvSpPr>
        <p:spPr>
          <a:xfrm>
            <a:off x="8047388" y="538430"/>
            <a:ext cx="26603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960761542"/>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rei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3599999"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584684"/>
            <a:ext cx="3622675"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37513"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2450528229"/>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ier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551113" y="584200"/>
            <a:ext cx="2664817" cy="5690270"/>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42960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F2C5D61B-00D5-48F1-961D-FE331B1627C5}"/>
              </a:ext>
            </a:extLst>
          </p:cNvPr>
          <p:cNvSpPr>
            <a:spLocks noGrp="1"/>
          </p:cNvSpPr>
          <p:nvPr>
            <p:ph type="pic" sz="quarter" idx="15"/>
          </p:nvPr>
        </p:nvSpPr>
        <p:spPr>
          <a:xfrm>
            <a:off x="4301647"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0AAEB8C3-8198-4C5D-841C-E2D5F3D0E5A8}"/>
              </a:ext>
            </a:extLst>
          </p:cNvPr>
          <p:cNvSpPr>
            <a:spLocks noGrp="1"/>
          </p:cNvSpPr>
          <p:nvPr>
            <p:ph type="pic" sz="quarter" idx="16"/>
          </p:nvPr>
        </p:nvSpPr>
        <p:spPr>
          <a:xfrm>
            <a:off x="8045900"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Bildplatzhalter 4">
            <a:extLst>
              <a:ext uri="{FF2B5EF4-FFF2-40B4-BE49-F238E27FC236}">
                <a16:creationId xmlns:a16="http://schemas.microsoft.com/office/drawing/2014/main" id="{DF8E4FED-B666-455C-AF42-09BBFAF8DB49}"/>
              </a:ext>
            </a:extLst>
          </p:cNvPr>
          <p:cNvSpPr>
            <a:spLocks noGrp="1"/>
          </p:cNvSpPr>
          <p:nvPr>
            <p:ph type="pic" sz="quarter" idx="17"/>
          </p:nvPr>
        </p:nvSpPr>
        <p:spPr>
          <a:xfrm>
            <a:off x="80459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36289736"/>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4" pos="7336">
          <p15:clr>
            <a:srgbClr val="FBAE40"/>
          </p15:clr>
        </p15:guide>
        <p15:guide id="6" pos="345">
          <p15:clr>
            <a:srgbClr val="FBAE40"/>
          </p15:clr>
        </p15:guide>
        <p15:guide id="7" pos="270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ünf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3538" y="4529137"/>
            <a:ext cx="2113324"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5" name="Bildplatzhalter 4">
            <a:extLst>
              <a:ext uri="{FF2B5EF4-FFF2-40B4-BE49-F238E27FC236}">
                <a16:creationId xmlns:a16="http://schemas.microsoft.com/office/drawing/2014/main" id="{440063FD-2C92-4D42-B1A2-EA82BEBB5EE7}"/>
              </a:ext>
            </a:extLst>
          </p:cNvPr>
          <p:cNvSpPr>
            <a:spLocks noGrp="1"/>
          </p:cNvSpPr>
          <p:nvPr>
            <p:ph type="pic" sz="quarter" idx="16"/>
          </p:nvPr>
        </p:nvSpPr>
        <p:spPr>
          <a:xfrm>
            <a:off x="278224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6" name="Bildplatzhalter 4">
            <a:extLst>
              <a:ext uri="{FF2B5EF4-FFF2-40B4-BE49-F238E27FC236}">
                <a16:creationId xmlns:a16="http://schemas.microsoft.com/office/drawing/2014/main" id="{6467BB9A-5244-40C4-8024-19FEDD14B501}"/>
              </a:ext>
            </a:extLst>
          </p:cNvPr>
          <p:cNvSpPr>
            <a:spLocks noGrp="1"/>
          </p:cNvSpPr>
          <p:nvPr>
            <p:ph type="pic" sz="quarter" idx="17"/>
          </p:nvPr>
        </p:nvSpPr>
        <p:spPr>
          <a:xfrm>
            <a:off x="502950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7" name="Bildplatzhalter 4">
            <a:extLst>
              <a:ext uri="{FF2B5EF4-FFF2-40B4-BE49-F238E27FC236}">
                <a16:creationId xmlns:a16="http://schemas.microsoft.com/office/drawing/2014/main" id="{1D2FDDDE-67BF-42B6-818C-95EC23E85932}"/>
              </a:ext>
            </a:extLst>
          </p:cNvPr>
          <p:cNvSpPr>
            <a:spLocks noGrp="1"/>
          </p:cNvSpPr>
          <p:nvPr>
            <p:ph type="pic" sz="quarter" idx="18"/>
          </p:nvPr>
        </p:nvSpPr>
        <p:spPr>
          <a:xfrm>
            <a:off x="727676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8" name="Bildplatzhalter 4">
            <a:extLst>
              <a:ext uri="{FF2B5EF4-FFF2-40B4-BE49-F238E27FC236}">
                <a16:creationId xmlns:a16="http://schemas.microsoft.com/office/drawing/2014/main" id="{D89DC0BC-155F-4CEB-8587-1204CDB07CB1}"/>
              </a:ext>
            </a:extLst>
          </p:cNvPr>
          <p:cNvSpPr>
            <a:spLocks noGrp="1"/>
          </p:cNvSpPr>
          <p:nvPr>
            <p:ph type="pic" sz="quarter" idx="19"/>
          </p:nvPr>
        </p:nvSpPr>
        <p:spPr>
          <a:xfrm>
            <a:off x="9524026"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9" name="Textplatzhalter 16">
            <a:extLst>
              <a:ext uri="{FF2B5EF4-FFF2-40B4-BE49-F238E27FC236}">
                <a16:creationId xmlns:a16="http://schemas.microsoft.com/office/drawing/2014/main" id="{2B3665A0-B00A-44D2-B58A-35E8FDA6A77C}"/>
              </a:ext>
            </a:extLst>
          </p:cNvPr>
          <p:cNvSpPr>
            <a:spLocks noGrp="1"/>
          </p:cNvSpPr>
          <p:nvPr>
            <p:ph type="body" sz="quarter" idx="20"/>
          </p:nvPr>
        </p:nvSpPr>
        <p:spPr>
          <a:xfrm>
            <a:off x="27797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0" name="Textplatzhalter 16">
            <a:extLst>
              <a:ext uri="{FF2B5EF4-FFF2-40B4-BE49-F238E27FC236}">
                <a16:creationId xmlns:a16="http://schemas.microsoft.com/office/drawing/2014/main" id="{9B616786-626B-4E22-AD14-A92B5C964E54}"/>
              </a:ext>
            </a:extLst>
          </p:cNvPr>
          <p:cNvSpPr>
            <a:spLocks noGrp="1"/>
          </p:cNvSpPr>
          <p:nvPr>
            <p:ph type="body" sz="quarter" idx="21"/>
          </p:nvPr>
        </p:nvSpPr>
        <p:spPr>
          <a:xfrm>
            <a:off x="50276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1" name="Textplatzhalter 16">
            <a:extLst>
              <a:ext uri="{FF2B5EF4-FFF2-40B4-BE49-F238E27FC236}">
                <a16:creationId xmlns:a16="http://schemas.microsoft.com/office/drawing/2014/main" id="{E6FCF680-3050-4529-9BB2-215BDF42F400}"/>
              </a:ext>
            </a:extLst>
          </p:cNvPr>
          <p:cNvSpPr>
            <a:spLocks noGrp="1"/>
          </p:cNvSpPr>
          <p:nvPr>
            <p:ph type="body" sz="quarter" idx="22"/>
          </p:nvPr>
        </p:nvSpPr>
        <p:spPr>
          <a:xfrm>
            <a:off x="7267575" y="4529137"/>
            <a:ext cx="2124000"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2" name="Textplatzhalter 16">
            <a:extLst>
              <a:ext uri="{FF2B5EF4-FFF2-40B4-BE49-F238E27FC236}">
                <a16:creationId xmlns:a16="http://schemas.microsoft.com/office/drawing/2014/main" id="{9859DCA0-03B4-4F8B-96CD-25DDD7AF6B03}"/>
              </a:ext>
            </a:extLst>
          </p:cNvPr>
          <p:cNvSpPr>
            <a:spLocks noGrp="1"/>
          </p:cNvSpPr>
          <p:nvPr>
            <p:ph type="body" sz="quarter" idx="23"/>
          </p:nvPr>
        </p:nvSpPr>
        <p:spPr>
          <a:xfrm>
            <a:off x="95234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28CF96AA-B7FF-42B7-B3D1-757EFB0BC093}"/>
              </a:ext>
            </a:extLst>
          </p:cNvPr>
          <p:cNvSpPr>
            <a:spLocks noGrp="1"/>
          </p:cNvSpPr>
          <p:nvPr>
            <p:ph type="title" hasCustomPrompt="1"/>
          </p:nvPr>
        </p:nvSpPr>
        <p:spPr>
          <a:xfrm>
            <a:off x="1487488" y="493295"/>
            <a:ext cx="9218228"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709477269"/>
      </p:ext>
    </p:extLst>
  </p:cSld>
  <p:clrMapOvr>
    <a:masterClrMapping/>
  </p:clrMapOvr>
  <p:extLst>
    <p:ext uri="{DCECCB84-F9BA-43D5-87BE-67443E8EF086}">
      <p15:sldGuideLst xmlns:p15="http://schemas.microsoft.com/office/powerpoint/2012/main">
        <p15:guide id="1" orient="horz" pos="2691">
          <p15:clr>
            <a:srgbClr val="FBAE40"/>
          </p15:clr>
        </p15:guide>
        <p15:guide id="3" orient="horz" pos="4043">
          <p15:clr>
            <a:srgbClr val="FBAE40"/>
          </p15:clr>
        </p15:guide>
        <p15:guide id="4" orient="horz" pos="944">
          <p15:clr>
            <a:srgbClr val="FBAE40"/>
          </p15:clr>
        </p15:guide>
        <p15:guide id="5" pos="1679">
          <p15:clr>
            <a:srgbClr val="FBAE40"/>
          </p15:clr>
        </p15:guide>
        <p15:guide id="6" pos="337">
          <p15:clr>
            <a:srgbClr val="FBAE40"/>
          </p15:clr>
        </p15:guide>
        <p15:guide id="7" pos="1751">
          <p15:clr>
            <a:srgbClr val="FBAE40"/>
          </p15:clr>
        </p15:guide>
        <p15:guide id="8" pos="7336">
          <p15:clr>
            <a:srgbClr val="FBAE40"/>
          </p15:clr>
        </p15:guide>
        <p15:guide id="9" pos="4578">
          <p15:clr>
            <a:srgbClr val="FBAE40"/>
          </p15:clr>
        </p15:guide>
        <p15:guide id="10" pos="4509">
          <p15:clr>
            <a:srgbClr val="FBAE40"/>
          </p15:clr>
        </p15:guide>
        <p15:guide id="11" orient="horz" pos="2850">
          <p15:clr>
            <a:srgbClr val="FBAE40"/>
          </p15:clr>
        </p15:guide>
        <p15:guide id="12" pos="3092">
          <p15:clr>
            <a:srgbClr val="FBAE40"/>
          </p15:clr>
        </p15:guide>
        <p15:guide id="13" pos="3164">
          <p15:clr>
            <a:srgbClr val="FBAE40"/>
          </p15:clr>
        </p15:guide>
        <p15:guide id="14" pos="5927">
          <p15:clr>
            <a:srgbClr val="FBAE40"/>
          </p15:clr>
        </p15:guide>
        <p15:guide id="15" pos="599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Tex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Agenda"/>
          <p:cNvSpPr>
            <a:spLocks noGrp="1"/>
          </p:cNvSpPr>
          <p:nvPr>
            <p:ph type="body" sz="quarter" idx="12" hasCustomPrompt="1"/>
          </p:nvPr>
        </p:nvSpPr>
        <p:spPr>
          <a:xfrm>
            <a:off x="719665" y="1509183"/>
            <a:ext cx="11040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pic>
        <p:nvPicPr>
          <p:cNvPr id="6" name="Logo_SBB_Symbol">
            <a:extLst>
              <a:ext uri="{FF2B5EF4-FFF2-40B4-BE49-F238E27FC236}">
                <a16:creationId xmlns:a16="http://schemas.microsoft.com/office/drawing/2014/main" id="{E59F5921-86CF-4E9B-A505-04830F74C0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37094288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hs Bilder und Text">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64409250-64E5-4189-B25D-03288E9150DF}"/>
              </a:ext>
            </a:extLst>
          </p:cNvPr>
          <p:cNvSpPr>
            <a:spLocks noGrp="1"/>
          </p:cNvSpPr>
          <p:nvPr>
            <p:ph type="pic" sz="quarter" idx="19"/>
          </p:nvPr>
        </p:nvSpPr>
        <p:spPr>
          <a:xfrm>
            <a:off x="534988" y="3825044"/>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81DFFCF-7498-4E8B-8420-E887B9B2DC4B}"/>
              </a:ext>
            </a:extLst>
          </p:cNvPr>
          <p:cNvSpPr>
            <a:spLocks noGrp="1"/>
          </p:cNvSpPr>
          <p:nvPr>
            <p:ph type="pic" sz="quarter" idx="20"/>
          </p:nvPr>
        </p:nvSpPr>
        <p:spPr>
          <a:xfrm>
            <a:off x="4294285"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548E3796-0490-4E76-93A8-994EE7C8C932}"/>
              </a:ext>
            </a:extLst>
          </p:cNvPr>
          <p:cNvSpPr>
            <a:spLocks noGrp="1"/>
          </p:cNvSpPr>
          <p:nvPr>
            <p:ph type="pic" sz="quarter" idx="21"/>
          </p:nvPr>
        </p:nvSpPr>
        <p:spPr>
          <a:xfrm>
            <a:off x="8041136"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2785313"/>
            <a:ext cx="3599999"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2785312"/>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046747"/>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46147" y="2785312"/>
            <a:ext cx="3590130"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1" name="Textplatzhalter 16">
            <a:extLst>
              <a:ext uri="{FF2B5EF4-FFF2-40B4-BE49-F238E27FC236}">
                <a16:creationId xmlns:a16="http://schemas.microsoft.com/office/drawing/2014/main" id="{B4019FE9-92BF-4440-9E7E-DDE2AA26A4EC}"/>
              </a:ext>
            </a:extLst>
          </p:cNvPr>
          <p:cNvSpPr>
            <a:spLocks noGrp="1"/>
          </p:cNvSpPr>
          <p:nvPr>
            <p:ph type="body" sz="quarter" idx="22"/>
          </p:nvPr>
        </p:nvSpPr>
        <p:spPr>
          <a:xfrm>
            <a:off x="543889" y="5569938"/>
            <a:ext cx="3613774"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2" name="Textplatzhalter 16">
            <a:extLst>
              <a:ext uri="{FF2B5EF4-FFF2-40B4-BE49-F238E27FC236}">
                <a16:creationId xmlns:a16="http://schemas.microsoft.com/office/drawing/2014/main" id="{17138E11-D365-4974-9084-9F22E0611EF6}"/>
              </a:ext>
            </a:extLst>
          </p:cNvPr>
          <p:cNvSpPr>
            <a:spLocks noGrp="1"/>
          </p:cNvSpPr>
          <p:nvPr>
            <p:ph type="body" sz="quarter" idx="23"/>
          </p:nvPr>
        </p:nvSpPr>
        <p:spPr>
          <a:xfrm>
            <a:off x="4302921"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3" name="Textplatzhalter 16">
            <a:extLst>
              <a:ext uri="{FF2B5EF4-FFF2-40B4-BE49-F238E27FC236}">
                <a16:creationId xmlns:a16="http://schemas.microsoft.com/office/drawing/2014/main" id="{2253C73E-CBF1-4BFB-93EB-D4594C8DF4EC}"/>
              </a:ext>
            </a:extLst>
          </p:cNvPr>
          <p:cNvSpPr>
            <a:spLocks noGrp="1"/>
          </p:cNvSpPr>
          <p:nvPr>
            <p:ph type="body" sz="quarter" idx="24"/>
          </p:nvPr>
        </p:nvSpPr>
        <p:spPr>
          <a:xfrm>
            <a:off x="8046147"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B52248A4-8352-478D-BDF5-FA3D2AE39213}"/>
              </a:ext>
            </a:extLst>
          </p:cNvPr>
          <p:cNvSpPr>
            <a:spLocks noGrp="1"/>
          </p:cNvSpPr>
          <p:nvPr>
            <p:ph type="title" hasCustomPrompt="1"/>
          </p:nvPr>
        </p:nvSpPr>
        <p:spPr>
          <a:xfrm>
            <a:off x="1487488" y="493295"/>
            <a:ext cx="9218228" cy="487433"/>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72636244"/>
      </p:ext>
    </p:extLst>
  </p:cSld>
  <p:clrMapOvr>
    <a:masterClrMapping/>
  </p:clrMapOvr>
  <p:extLst>
    <p:ext uri="{DCECCB84-F9BA-43D5-87BE-67443E8EF086}">
      <p15:sldGuideLst xmlns:p15="http://schemas.microsoft.com/office/powerpoint/2012/main">
        <p15:guide id="1" orient="horz" pos="2403">
          <p15:clr>
            <a:srgbClr val="FBAE40"/>
          </p15:clr>
        </p15:guide>
        <p15:guide id="2" orient="horz" pos="1686">
          <p15:clr>
            <a:srgbClr val="FBAE40"/>
          </p15:clr>
        </p15:guide>
        <p15:guide id="3" orient="horz" pos="4040">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guide id="11" orient="horz" pos="342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4301290" y="1858879"/>
            <a:ext cx="6406398" cy="3406325"/>
          </a:xfrm>
          <a:prstGeom prst="rect">
            <a:avLst/>
          </a:prstGeom>
        </p:spPr>
        <p:txBody>
          <a:bodyPr vert="horz" lIns="0" tIns="0" rIns="0" bIns="0" rtlCol="0">
            <a:noAutofit/>
          </a:bodyPr>
          <a:lstStyle>
            <a:lvl1pPr>
              <a:lnSpc>
                <a:spcPct val="108000"/>
              </a:lnSpc>
              <a:defRPr sz="2100" spc="40" baseline="0"/>
            </a:lvl1pPr>
            <a:lvl2pPr>
              <a:lnSpc>
                <a:spcPct val="108000"/>
              </a:lnSpc>
              <a:defRPr sz="2100" spc="40" baseline="0"/>
            </a:lvl2pPr>
            <a:lvl3pPr>
              <a:lnSpc>
                <a:spcPct val="108000"/>
              </a:lnSpc>
              <a:defRPr sz="2100" spc="40" baseline="0"/>
            </a:lvl3pPr>
            <a:lvl4pPr>
              <a:lnSpc>
                <a:spcPct val="108000"/>
              </a:lnSpc>
              <a:defRPr sz="2100" spc="40" baseline="0"/>
            </a:lvl4pPr>
            <a:lvl5pPr>
              <a:lnSpc>
                <a:spcPct val="108000"/>
              </a:lnSpc>
              <a:defRPr sz="2100" spc="40" baseline="0"/>
            </a:lvl5pPr>
            <a:lvl6pPr>
              <a:lnSpc>
                <a:spcPct val="108000"/>
              </a:lnSpc>
              <a:defRPr sz="2100" spc="40" baseline="0"/>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4312" y="1907005"/>
            <a:ext cx="2269541" cy="29838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6" name="Textplatzhalter 5">
            <a:extLst>
              <a:ext uri="{FF2B5EF4-FFF2-40B4-BE49-F238E27FC236}">
                <a16:creationId xmlns:a16="http://schemas.microsoft.com/office/drawing/2014/main" id="{B03346D9-FB45-4867-A396-ED89DA22280F}"/>
              </a:ext>
            </a:extLst>
          </p:cNvPr>
          <p:cNvSpPr>
            <a:spLocks noGrp="1"/>
          </p:cNvSpPr>
          <p:nvPr>
            <p:ph type="body" sz="quarter" idx="16"/>
          </p:nvPr>
        </p:nvSpPr>
        <p:spPr>
          <a:xfrm>
            <a:off x="4295775" y="5588668"/>
            <a:ext cx="6411913" cy="829595"/>
          </a:xfrm>
        </p:spPr>
        <p:txBody>
          <a:bodyPr/>
          <a:lstStyle>
            <a:lvl1pPr>
              <a:lnSpc>
                <a:spcPct val="114000"/>
              </a:lnSpc>
              <a:defRPr sz="1400" spc="40" baseline="0"/>
            </a:lvl1pPr>
            <a:lvl2pPr>
              <a:defRPr sz="1400"/>
            </a:lvl2pPr>
            <a:lvl3pPr>
              <a:defRPr sz="1400"/>
            </a:lvl3pPr>
            <a:lvl4pPr>
              <a:defRPr sz="1400"/>
            </a:lvl4pPr>
            <a:lvl5pPr>
              <a:defRPr sz="1400"/>
            </a:lvl5pPr>
          </a:lstStyle>
          <a:p>
            <a:pPr lvl="0"/>
            <a:r>
              <a:rPr lang="de-DE"/>
              <a:t>Mastertextformat bearbeiten</a:t>
            </a:r>
          </a:p>
        </p:txBody>
      </p:sp>
      <p:sp>
        <p:nvSpPr>
          <p:cNvPr id="3" name="Titel 2">
            <a:extLst>
              <a:ext uri="{FF2B5EF4-FFF2-40B4-BE49-F238E27FC236}">
                <a16:creationId xmlns:a16="http://schemas.microsoft.com/office/drawing/2014/main" id="{1CCC01BC-AAA0-4D9D-9FD8-BCEC08761D5B}"/>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997310787"/>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410">
          <p15:clr>
            <a:srgbClr val="FBAE40"/>
          </p15:clr>
        </p15:guide>
        <p15:guide id="5" pos="733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am mit vier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4312"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5499"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97DDD21-AF8E-4D8F-9E81-C3512B79BD5E}"/>
              </a:ext>
            </a:extLst>
          </p:cNvPr>
          <p:cNvSpPr>
            <a:spLocks noGrp="1"/>
          </p:cNvSpPr>
          <p:nvPr>
            <p:ph type="pic" sz="quarter" idx="16"/>
          </p:nvPr>
        </p:nvSpPr>
        <p:spPr>
          <a:xfrm>
            <a:off x="3897383"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4C3FDE3D-7494-4C3B-B2CF-5F8A5F90B0CC}"/>
              </a:ext>
            </a:extLst>
          </p:cNvPr>
          <p:cNvSpPr>
            <a:spLocks noGrp="1"/>
          </p:cNvSpPr>
          <p:nvPr>
            <p:ph type="pic" sz="quarter" idx="17"/>
          </p:nvPr>
        </p:nvSpPr>
        <p:spPr>
          <a:xfrm>
            <a:off x="6312408"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2526A8A2-5ADB-4A9E-8F16-47028E654A1F}"/>
              </a:ext>
            </a:extLst>
          </p:cNvPr>
          <p:cNvSpPr>
            <a:spLocks noGrp="1"/>
          </p:cNvSpPr>
          <p:nvPr>
            <p:ph type="pic" sz="quarter" idx="18"/>
          </p:nvPr>
        </p:nvSpPr>
        <p:spPr>
          <a:xfrm>
            <a:off x="8724292"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2">
            <a:extLst>
              <a:ext uri="{FF2B5EF4-FFF2-40B4-BE49-F238E27FC236}">
                <a16:creationId xmlns:a16="http://schemas.microsoft.com/office/drawing/2014/main" id="{BBF8312E-E5E2-408E-B0EE-62723B4297D3}"/>
              </a:ext>
            </a:extLst>
          </p:cNvPr>
          <p:cNvSpPr>
            <a:spLocks noGrp="1"/>
          </p:cNvSpPr>
          <p:nvPr>
            <p:ph idx="19" hasCustomPrompt="1"/>
          </p:nvPr>
        </p:nvSpPr>
        <p:spPr>
          <a:xfrm>
            <a:off x="3898415"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6" name="Textplatzhalter 2">
            <a:extLst>
              <a:ext uri="{FF2B5EF4-FFF2-40B4-BE49-F238E27FC236}">
                <a16:creationId xmlns:a16="http://schemas.microsoft.com/office/drawing/2014/main" id="{0113B521-BFE2-4399-805F-6476DD239713}"/>
              </a:ext>
            </a:extLst>
          </p:cNvPr>
          <p:cNvSpPr>
            <a:spLocks noGrp="1"/>
          </p:cNvSpPr>
          <p:nvPr>
            <p:ph idx="20" hasCustomPrompt="1"/>
          </p:nvPr>
        </p:nvSpPr>
        <p:spPr>
          <a:xfrm>
            <a:off x="6312518"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7" name="Textplatzhalter 2">
            <a:extLst>
              <a:ext uri="{FF2B5EF4-FFF2-40B4-BE49-F238E27FC236}">
                <a16:creationId xmlns:a16="http://schemas.microsoft.com/office/drawing/2014/main" id="{BB561AA0-787D-4C94-993A-80329A9FF89C}"/>
              </a:ext>
            </a:extLst>
          </p:cNvPr>
          <p:cNvSpPr>
            <a:spLocks noGrp="1"/>
          </p:cNvSpPr>
          <p:nvPr>
            <p:ph idx="21" hasCustomPrompt="1"/>
          </p:nvPr>
        </p:nvSpPr>
        <p:spPr>
          <a:xfrm>
            <a:off x="8726621"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055E2250-93A9-4406-98F8-B4CDC1BC4EC3}"/>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974114819"/>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am mit acht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631503"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56155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8" name="Bildplatzhalter 4">
            <a:extLst>
              <a:ext uri="{FF2B5EF4-FFF2-40B4-BE49-F238E27FC236}">
                <a16:creationId xmlns:a16="http://schemas.microsoft.com/office/drawing/2014/main" id="{6FE4A297-A689-4F17-B110-A8313B7828E1}"/>
              </a:ext>
            </a:extLst>
          </p:cNvPr>
          <p:cNvSpPr>
            <a:spLocks noGrp="1"/>
          </p:cNvSpPr>
          <p:nvPr>
            <p:ph type="pic" sz="quarter" idx="16"/>
          </p:nvPr>
        </p:nvSpPr>
        <p:spPr>
          <a:xfrm>
            <a:off x="6171396"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3DF1A88-47CB-427A-A6AD-78D69857AB83}"/>
              </a:ext>
            </a:extLst>
          </p:cNvPr>
          <p:cNvSpPr>
            <a:spLocks noGrp="1"/>
          </p:cNvSpPr>
          <p:nvPr>
            <p:ph type="pic" sz="quarter" idx="17"/>
          </p:nvPr>
        </p:nvSpPr>
        <p:spPr>
          <a:xfrm>
            <a:off x="3366473"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369F8622-2F51-4D3C-9804-C2FFE83A5E11}"/>
              </a:ext>
            </a:extLst>
          </p:cNvPr>
          <p:cNvSpPr>
            <a:spLocks noGrp="1"/>
          </p:cNvSpPr>
          <p:nvPr>
            <p:ph type="pic" sz="quarter" idx="18"/>
          </p:nvPr>
        </p:nvSpPr>
        <p:spPr>
          <a:xfrm>
            <a:off x="897632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1" name="Bildplatzhalter 4">
            <a:extLst>
              <a:ext uri="{FF2B5EF4-FFF2-40B4-BE49-F238E27FC236}">
                <a16:creationId xmlns:a16="http://schemas.microsoft.com/office/drawing/2014/main" id="{0100649A-3EE7-484F-8840-CA5DC19F8258}"/>
              </a:ext>
            </a:extLst>
          </p:cNvPr>
          <p:cNvSpPr>
            <a:spLocks noGrp="1"/>
          </p:cNvSpPr>
          <p:nvPr>
            <p:ph type="pic" sz="quarter" idx="19"/>
          </p:nvPr>
        </p:nvSpPr>
        <p:spPr>
          <a:xfrm>
            <a:off x="56155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2" name="Bildplatzhalter 4">
            <a:extLst>
              <a:ext uri="{FF2B5EF4-FFF2-40B4-BE49-F238E27FC236}">
                <a16:creationId xmlns:a16="http://schemas.microsoft.com/office/drawing/2014/main" id="{B55120ED-FA62-41B3-BB93-49CF37C57C21}"/>
              </a:ext>
            </a:extLst>
          </p:cNvPr>
          <p:cNvSpPr>
            <a:spLocks noGrp="1"/>
          </p:cNvSpPr>
          <p:nvPr>
            <p:ph type="pic" sz="quarter" idx="20"/>
          </p:nvPr>
        </p:nvSpPr>
        <p:spPr>
          <a:xfrm>
            <a:off x="3366473"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3" name="Bildplatzhalter 4">
            <a:extLst>
              <a:ext uri="{FF2B5EF4-FFF2-40B4-BE49-F238E27FC236}">
                <a16:creationId xmlns:a16="http://schemas.microsoft.com/office/drawing/2014/main" id="{AA88392E-5D3C-4304-AE39-FB5387725E65}"/>
              </a:ext>
            </a:extLst>
          </p:cNvPr>
          <p:cNvSpPr>
            <a:spLocks noGrp="1"/>
          </p:cNvSpPr>
          <p:nvPr>
            <p:ph type="pic" sz="quarter" idx="21"/>
          </p:nvPr>
        </p:nvSpPr>
        <p:spPr>
          <a:xfrm>
            <a:off x="6171396"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4" name="Bildplatzhalter 4">
            <a:extLst>
              <a:ext uri="{FF2B5EF4-FFF2-40B4-BE49-F238E27FC236}">
                <a16:creationId xmlns:a16="http://schemas.microsoft.com/office/drawing/2014/main" id="{A35F3718-65B4-4392-93CB-1CF751C7B276}"/>
              </a:ext>
            </a:extLst>
          </p:cNvPr>
          <p:cNvSpPr>
            <a:spLocks noGrp="1"/>
          </p:cNvSpPr>
          <p:nvPr>
            <p:ph type="pic" sz="quarter" idx="22"/>
          </p:nvPr>
        </p:nvSpPr>
        <p:spPr>
          <a:xfrm>
            <a:off x="897632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5" name="Textplatzhalter 2">
            <a:extLst>
              <a:ext uri="{FF2B5EF4-FFF2-40B4-BE49-F238E27FC236}">
                <a16:creationId xmlns:a16="http://schemas.microsoft.com/office/drawing/2014/main" id="{4B3219C0-DB30-4D57-9052-D99B39D1FEA1}"/>
              </a:ext>
            </a:extLst>
          </p:cNvPr>
          <p:cNvSpPr>
            <a:spLocks noGrp="1"/>
          </p:cNvSpPr>
          <p:nvPr>
            <p:ph idx="23" hasCustomPrompt="1"/>
          </p:nvPr>
        </p:nvSpPr>
        <p:spPr>
          <a:xfrm>
            <a:off x="4439226"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6" name="Textplatzhalter 2">
            <a:extLst>
              <a:ext uri="{FF2B5EF4-FFF2-40B4-BE49-F238E27FC236}">
                <a16:creationId xmlns:a16="http://schemas.microsoft.com/office/drawing/2014/main" id="{C0BFAFCB-6FFE-4BCB-8D43-2D17548C34E7}"/>
              </a:ext>
            </a:extLst>
          </p:cNvPr>
          <p:cNvSpPr>
            <a:spLocks noGrp="1"/>
          </p:cNvSpPr>
          <p:nvPr>
            <p:ph idx="24" hasCustomPrompt="1"/>
          </p:nvPr>
        </p:nvSpPr>
        <p:spPr>
          <a:xfrm>
            <a:off x="7246949"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7" name="Textplatzhalter 2">
            <a:extLst>
              <a:ext uri="{FF2B5EF4-FFF2-40B4-BE49-F238E27FC236}">
                <a16:creationId xmlns:a16="http://schemas.microsoft.com/office/drawing/2014/main" id="{E0E94DD1-78C7-4606-A63D-BCCE006B0846}"/>
              </a:ext>
            </a:extLst>
          </p:cNvPr>
          <p:cNvSpPr>
            <a:spLocks noGrp="1"/>
          </p:cNvSpPr>
          <p:nvPr>
            <p:ph idx="25" hasCustomPrompt="1"/>
          </p:nvPr>
        </p:nvSpPr>
        <p:spPr>
          <a:xfrm>
            <a:off x="10054671"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8" name="Textplatzhalter 2">
            <a:extLst>
              <a:ext uri="{FF2B5EF4-FFF2-40B4-BE49-F238E27FC236}">
                <a16:creationId xmlns:a16="http://schemas.microsoft.com/office/drawing/2014/main" id="{EFA5D121-281D-4F3A-B67A-BC47F100DE3F}"/>
              </a:ext>
            </a:extLst>
          </p:cNvPr>
          <p:cNvSpPr>
            <a:spLocks noGrp="1"/>
          </p:cNvSpPr>
          <p:nvPr>
            <p:ph idx="26" hasCustomPrompt="1"/>
          </p:nvPr>
        </p:nvSpPr>
        <p:spPr>
          <a:xfrm>
            <a:off x="1631503"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9" name="Textplatzhalter 2">
            <a:extLst>
              <a:ext uri="{FF2B5EF4-FFF2-40B4-BE49-F238E27FC236}">
                <a16:creationId xmlns:a16="http://schemas.microsoft.com/office/drawing/2014/main" id="{DAC7AD13-4CB1-40B6-8229-ECCE0AC38776}"/>
              </a:ext>
            </a:extLst>
          </p:cNvPr>
          <p:cNvSpPr>
            <a:spLocks noGrp="1"/>
          </p:cNvSpPr>
          <p:nvPr>
            <p:ph idx="27" hasCustomPrompt="1"/>
          </p:nvPr>
        </p:nvSpPr>
        <p:spPr>
          <a:xfrm>
            <a:off x="4439226"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0" name="Textplatzhalter 2">
            <a:extLst>
              <a:ext uri="{FF2B5EF4-FFF2-40B4-BE49-F238E27FC236}">
                <a16:creationId xmlns:a16="http://schemas.microsoft.com/office/drawing/2014/main" id="{F1A1FE98-08A8-43BA-A037-3A7927960120}"/>
              </a:ext>
            </a:extLst>
          </p:cNvPr>
          <p:cNvSpPr>
            <a:spLocks noGrp="1"/>
          </p:cNvSpPr>
          <p:nvPr>
            <p:ph idx="28" hasCustomPrompt="1"/>
          </p:nvPr>
        </p:nvSpPr>
        <p:spPr>
          <a:xfrm>
            <a:off x="7246949"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1" name="Textplatzhalter 2">
            <a:extLst>
              <a:ext uri="{FF2B5EF4-FFF2-40B4-BE49-F238E27FC236}">
                <a16:creationId xmlns:a16="http://schemas.microsoft.com/office/drawing/2014/main" id="{0130F7F6-3D75-4F98-A8F4-EFBA8E91ED85}"/>
              </a:ext>
            </a:extLst>
          </p:cNvPr>
          <p:cNvSpPr>
            <a:spLocks noGrp="1"/>
          </p:cNvSpPr>
          <p:nvPr>
            <p:ph idx="29" hasCustomPrompt="1"/>
          </p:nvPr>
        </p:nvSpPr>
        <p:spPr>
          <a:xfrm>
            <a:off x="10054671"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EFC918BB-DABB-42F8-B06F-81AD24E4E995}"/>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74276240"/>
      </p:ext>
    </p:extLst>
  </p:cSld>
  <p:clrMapOvr>
    <a:masterClrMapping/>
  </p:clrMapOvr>
  <p:extLst>
    <p:ext uri="{DCECCB84-F9BA-43D5-87BE-67443E8EF086}">
      <p15:sldGuideLst xmlns:p15="http://schemas.microsoft.com/office/powerpoint/2012/main">
        <p15:guide id="1" pos="932">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artn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16" name="Inhaltsplatzhalter 3">
            <a:extLst>
              <a:ext uri="{FF2B5EF4-FFF2-40B4-BE49-F238E27FC236}">
                <a16:creationId xmlns:a16="http://schemas.microsoft.com/office/drawing/2014/main" id="{224C8ED8-2724-43D9-B629-670917E36DA8}"/>
              </a:ext>
            </a:extLst>
          </p:cNvPr>
          <p:cNvSpPr>
            <a:spLocks noGrp="1"/>
          </p:cNvSpPr>
          <p:nvPr>
            <p:ph sz="quarter" idx="15" hasCustomPrompt="1"/>
          </p:nvPr>
        </p:nvSpPr>
        <p:spPr>
          <a:xfrm>
            <a:off x="4657588" y="2238375"/>
            <a:ext cx="2880000" cy="1260000"/>
          </a:xfrm>
        </p:spPr>
        <p:txBody>
          <a:bodyPr tIns="864000"/>
          <a:lstStyle>
            <a:lvl1pPr>
              <a:defRPr sz="1200">
                <a:solidFill>
                  <a:schemeClr val="tx2"/>
                </a:solidFill>
              </a:defRPr>
            </a:lvl1pPr>
          </a:lstStyle>
          <a:p>
            <a:pPr lvl="0"/>
            <a:r>
              <a:rPr lang="de-DE"/>
              <a:t>Logo einfügen  ↑</a:t>
            </a:r>
          </a:p>
        </p:txBody>
      </p:sp>
      <p:sp>
        <p:nvSpPr>
          <p:cNvPr id="15" name="Inhaltsplatzhalter 3">
            <a:extLst>
              <a:ext uri="{FF2B5EF4-FFF2-40B4-BE49-F238E27FC236}">
                <a16:creationId xmlns:a16="http://schemas.microsoft.com/office/drawing/2014/main" id="{1717B421-41C1-4A6B-90F7-CF61E0FDE942}"/>
              </a:ext>
            </a:extLst>
          </p:cNvPr>
          <p:cNvSpPr>
            <a:spLocks noGrp="1"/>
          </p:cNvSpPr>
          <p:nvPr>
            <p:ph sz="quarter" idx="14" hasCustomPrompt="1"/>
          </p:nvPr>
        </p:nvSpPr>
        <p:spPr>
          <a:xfrm>
            <a:off x="7827688" y="2238375"/>
            <a:ext cx="2880000" cy="1260000"/>
          </a:xfrm>
        </p:spPr>
        <p:txBody>
          <a:bodyPr tIns="864000"/>
          <a:lstStyle>
            <a:lvl1pPr>
              <a:defRPr sz="1200">
                <a:solidFill>
                  <a:schemeClr val="tx2"/>
                </a:solidFill>
              </a:defRPr>
            </a:lvl1pPr>
          </a:lstStyle>
          <a:p>
            <a:pPr lvl="0"/>
            <a:r>
              <a:rPr lang="de-DE"/>
              <a:t>Logo einfügen  ↑</a:t>
            </a:r>
          </a:p>
        </p:txBody>
      </p:sp>
      <p:sp>
        <p:nvSpPr>
          <p:cNvPr id="4" name="Inhaltsplatzhalter 3">
            <a:extLst>
              <a:ext uri="{FF2B5EF4-FFF2-40B4-BE49-F238E27FC236}">
                <a16:creationId xmlns:a16="http://schemas.microsoft.com/office/drawing/2014/main" id="{93580659-36ED-4234-B5A1-CD00BD4FE26A}"/>
              </a:ext>
            </a:extLst>
          </p:cNvPr>
          <p:cNvSpPr>
            <a:spLocks noGrp="1"/>
          </p:cNvSpPr>
          <p:nvPr>
            <p:ph sz="quarter" idx="13" hasCustomPrompt="1"/>
          </p:nvPr>
        </p:nvSpPr>
        <p:spPr>
          <a:xfrm>
            <a:off x="1487488" y="2238375"/>
            <a:ext cx="2880000" cy="1260000"/>
          </a:xfrm>
        </p:spPr>
        <p:txBody>
          <a:bodyPr tIns="900000"/>
          <a:lstStyle>
            <a:lvl1pPr>
              <a:defRPr sz="1200">
                <a:solidFill>
                  <a:schemeClr val="tx2"/>
                </a:solidFill>
                <a:latin typeface="+mj-lt"/>
                <a:ea typeface="Segoe UI Symbol" panose="020B0502040204020203" pitchFamily="34" charset="0"/>
              </a:defRPr>
            </a:lvl1pPr>
          </a:lstStyle>
          <a:p>
            <a:pPr lvl="0"/>
            <a:r>
              <a:rPr lang="de-DE"/>
              <a:t>Logo einfügen  ↑</a:t>
            </a:r>
          </a:p>
          <a:p>
            <a:pPr lvl="0"/>
            <a:endParaRPr lang="de-DE"/>
          </a:p>
        </p:txBody>
      </p:sp>
      <p:sp>
        <p:nvSpPr>
          <p:cNvPr id="17" name="Inhaltsplatzhalter 3">
            <a:extLst>
              <a:ext uri="{FF2B5EF4-FFF2-40B4-BE49-F238E27FC236}">
                <a16:creationId xmlns:a16="http://schemas.microsoft.com/office/drawing/2014/main" id="{39A87105-EF9A-4156-88A6-10AB358E2DDC}"/>
              </a:ext>
            </a:extLst>
          </p:cNvPr>
          <p:cNvSpPr>
            <a:spLocks noGrp="1"/>
          </p:cNvSpPr>
          <p:nvPr>
            <p:ph sz="quarter" idx="16" hasCustomPrompt="1"/>
          </p:nvPr>
        </p:nvSpPr>
        <p:spPr>
          <a:xfrm>
            <a:off x="4650827" y="3972911"/>
            <a:ext cx="2880000" cy="1260000"/>
          </a:xfrm>
        </p:spPr>
        <p:txBody>
          <a:bodyPr tIns="864000"/>
          <a:lstStyle>
            <a:lvl1pPr>
              <a:defRPr sz="1200">
                <a:solidFill>
                  <a:schemeClr val="tx2"/>
                </a:solidFill>
              </a:defRPr>
            </a:lvl1pPr>
          </a:lstStyle>
          <a:p>
            <a:pPr lvl="0"/>
            <a:r>
              <a:rPr lang="de-DE"/>
              <a:t>Logo einfügen  ↑</a:t>
            </a:r>
          </a:p>
        </p:txBody>
      </p:sp>
      <p:sp>
        <p:nvSpPr>
          <p:cNvPr id="18" name="Inhaltsplatzhalter 3">
            <a:extLst>
              <a:ext uri="{FF2B5EF4-FFF2-40B4-BE49-F238E27FC236}">
                <a16:creationId xmlns:a16="http://schemas.microsoft.com/office/drawing/2014/main" id="{547DC7D8-C082-4D4E-B4D1-4F377A1F92DA}"/>
              </a:ext>
            </a:extLst>
          </p:cNvPr>
          <p:cNvSpPr>
            <a:spLocks noGrp="1"/>
          </p:cNvSpPr>
          <p:nvPr>
            <p:ph sz="quarter" idx="17" hasCustomPrompt="1"/>
          </p:nvPr>
        </p:nvSpPr>
        <p:spPr>
          <a:xfrm>
            <a:off x="7820927" y="3972911"/>
            <a:ext cx="2880000" cy="1260000"/>
          </a:xfrm>
        </p:spPr>
        <p:txBody>
          <a:bodyPr tIns="864000"/>
          <a:lstStyle>
            <a:lvl1pPr>
              <a:defRPr sz="1200">
                <a:solidFill>
                  <a:schemeClr val="tx2"/>
                </a:solidFill>
              </a:defRPr>
            </a:lvl1pPr>
          </a:lstStyle>
          <a:p>
            <a:pPr lvl="0"/>
            <a:r>
              <a:rPr lang="de-DE"/>
              <a:t>Logo einfügen  ↑</a:t>
            </a:r>
          </a:p>
        </p:txBody>
      </p:sp>
      <p:sp>
        <p:nvSpPr>
          <p:cNvPr id="19" name="Inhaltsplatzhalter 3">
            <a:extLst>
              <a:ext uri="{FF2B5EF4-FFF2-40B4-BE49-F238E27FC236}">
                <a16:creationId xmlns:a16="http://schemas.microsoft.com/office/drawing/2014/main" id="{866A87BE-453D-443B-A4F0-271A8A4826BB}"/>
              </a:ext>
            </a:extLst>
          </p:cNvPr>
          <p:cNvSpPr>
            <a:spLocks noGrp="1"/>
          </p:cNvSpPr>
          <p:nvPr>
            <p:ph sz="quarter" idx="18" hasCustomPrompt="1"/>
          </p:nvPr>
        </p:nvSpPr>
        <p:spPr>
          <a:xfrm>
            <a:off x="1480727" y="3972911"/>
            <a:ext cx="2880000" cy="1260000"/>
          </a:xfrm>
        </p:spPr>
        <p:txBody>
          <a:bodyPr tIns="864000"/>
          <a:lstStyle>
            <a:lvl1pPr>
              <a:defRPr sz="1200">
                <a:solidFill>
                  <a:schemeClr val="tx2"/>
                </a:solidFill>
              </a:defRPr>
            </a:lvl1pPr>
          </a:lstStyle>
          <a:p>
            <a:pPr lvl="0"/>
            <a:r>
              <a:rPr lang="de-DE"/>
              <a:t>Logo einfügen  ↑</a:t>
            </a:r>
          </a:p>
        </p:txBody>
      </p:sp>
    </p:spTree>
    <p:extLst>
      <p:ext uri="{BB962C8B-B14F-4D97-AF65-F5344CB8AC3E}">
        <p14:creationId xmlns:p14="http://schemas.microsoft.com/office/powerpoint/2010/main" val="1179782741"/>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2074074081"/>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B2C9A677-42EB-4007-B205-C7501220950B}" type="datetimeyyyy">
              <a:rPr lang="de-CH" smtClean="0"/>
              <a:t>2025</a:t>
            </a:fld>
            <a:endParaRPr lang="de-CH"/>
          </a:p>
        </p:txBody>
      </p:sp>
      <p:sp>
        <p:nvSpPr>
          <p:cNvPr id="6" name="Fußzeilenplatzhalter 5"/>
          <p:cNvSpPr>
            <a:spLocks noGrp="1"/>
          </p:cNvSpPr>
          <p:nvPr>
            <p:ph type="ftr" sz="quarter" idx="11"/>
          </p:nvPr>
        </p:nvSpPr>
        <p:spPr/>
        <p:txBody>
          <a:bodyPr/>
          <a:lstStyle/>
          <a:p>
            <a:r>
              <a:rPr lang="de-DE"/>
              <a:t>SBB Division Abteilung und Bereich</a:t>
            </a:r>
            <a:endParaRPr lang="de-CH"/>
          </a:p>
        </p:txBody>
      </p:sp>
      <p:sp>
        <p:nvSpPr>
          <p:cNvPr id="7" name="Foliennummernplatzhalter 6"/>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3029891957"/>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4040">
          <p15:clr>
            <a:srgbClr val="FBAE40"/>
          </p15:clr>
        </p15:guide>
        <p15:guide id="3" pos="7336">
          <p15:clr>
            <a:srgbClr val="FBAE40"/>
          </p15:clr>
        </p15:guide>
        <p15:guide id="4" pos="345">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chlussfolie SBB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D697C572-0C30-42E1-8099-4434D27642AF}"/>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630614984"/>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Schlussfolie SBB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1" name="Textplatzhalter 11">
            <a:extLst>
              <a:ext uri="{FF2B5EF4-FFF2-40B4-BE49-F238E27FC236}">
                <a16:creationId xmlns:a16="http://schemas.microsoft.com/office/drawing/2014/main" id="{9E92CD1E-D16D-41A3-8E3B-BE988C7E3B11}"/>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50356417"/>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chlussfolie Cargo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92300117-97DA-4BC5-B68D-05ED07097A61}"/>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440864611"/>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Zweispaltige Tex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Textplatzhalter 6"/>
          <p:cNvSpPr>
            <a:spLocks noGrp="1"/>
          </p:cNvSpPr>
          <p:nvPr>
            <p:ph type="body" sz="quarter" idx="12" hasCustomPrompt="1"/>
          </p:nvPr>
        </p:nvSpPr>
        <p:spPr>
          <a:xfrm>
            <a:off x="719665" y="1509183"/>
            <a:ext cx="5376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Textplatzhalter 7"/>
          <p:cNvSpPr>
            <a:spLocks noGrp="1"/>
          </p:cNvSpPr>
          <p:nvPr>
            <p:ph type="body" sz="quarter" idx="13" hasCustomPrompt="1"/>
          </p:nvPr>
        </p:nvSpPr>
        <p:spPr>
          <a:xfrm>
            <a:off x="6384000" y="1509184"/>
            <a:ext cx="5376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pic>
        <p:nvPicPr>
          <p:cNvPr id="9" name="Logo_SBB_Symbol">
            <a:extLst>
              <a:ext uri="{FF2B5EF4-FFF2-40B4-BE49-F238E27FC236}">
                <a16:creationId xmlns:a16="http://schemas.microsoft.com/office/drawing/2014/main" id="{C346BCAC-1E9D-4596-9ACA-18319FE92E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9138382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Schlussfolie Cargo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01309523-3546-4A6B-BA61-7A6E63A78BA0}"/>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080995131"/>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Titelfolie SBB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5</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1506254067"/>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Titelfolie SBB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5</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
        <p:nvSpPr>
          <p:cNvPr id="12" name="Textplatzhalter 11">
            <a:extLst>
              <a:ext uri="{FF2B5EF4-FFF2-40B4-BE49-F238E27FC236}">
                <a16:creationId xmlns:a16="http://schemas.microsoft.com/office/drawing/2014/main" id="{FAFC59C7-5313-481E-9BD9-0BB395093D55}"/>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373824754"/>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Titelfolie Cargo (Logo weiss)">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5</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537810359"/>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Titelfolie Cargo (Logo schwarz)">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9B600E21-DCB7-482A-B265-E2B851163D08}"/>
              </a:ext>
            </a:extLst>
          </p:cNvPr>
          <p:cNvSpPr>
            <a:spLocks noGrp="1"/>
          </p:cNvSpPr>
          <p:nvPr>
            <p:ph type="dt" sz="half" idx="16"/>
          </p:nvPr>
        </p:nvSpPr>
        <p:spPr/>
        <p:txBody>
          <a:bodyPr/>
          <a:lstStyle/>
          <a:p>
            <a:fld id="{3E8E767B-80F6-40CC-A2EC-0F5A4A89F876}" type="datetimeyyyy">
              <a:rPr lang="de-CH" smtClean="0"/>
              <a:t>2025</a:t>
            </a:fld>
            <a:endParaRPr lang="de-CH"/>
          </a:p>
        </p:txBody>
      </p:sp>
      <p:sp>
        <p:nvSpPr>
          <p:cNvPr id="5" name="Fußzeilenplatzhalter 4">
            <a:extLst>
              <a:ext uri="{FF2B5EF4-FFF2-40B4-BE49-F238E27FC236}">
                <a16:creationId xmlns:a16="http://schemas.microsoft.com/office/drawing/2014/main" id="{E041B66B-0CD2-4798-BA16-91DAC3432E99}"/>
              </a:ext>
            </a:extLst>
          </p:cNvPr>
          <p:cNvSpPr>
            <a:spLocks noGrp="1"/>
          </p:cNvSpPr>
          <p:nvPr>
            <p:ph type="ftr" sz="quarter" idx="17"/>
          </p:nvPr>
        </p:nvSpPr>
        <p:spPr/>
        <p:txBody>
          <a:bodyPr/>
          <a:lstStyle/>
          <a:p>
            <a:r>
              <a:rPr lang="de-DE"/>
              <a:t>SBB Division Abteilung und Bereich</a:t>
            </a:r>
            <a:endParaRPr lang="de-CH"/>
          </a:p>
        </p:txBody>
      </p:sp>
      <p:sp>
        <p:nvSpPr>
          <p:cNvPr id="6" name="Foliennummernplatzhalter 5">
            <a:extLst>
              <a:ext uri="{FF2B5EF4-FFF2-40B4-BE49-F238E27FC236}">
                <a16:creationId xmlns:a16="http://schemas.microsoft.com/office/drawing/2014/main" id="{A8D59E56-8CC7-4D08-89A7-C238427A2EB7}"/>
              </a:ext>
            </a:extLst>
          </p:cNvPr>
          <p:cNvSpPr>
            <a:spLocks noGrp="1"/>
          </p:cNvSpPr>
          <p:nvPr>
            <p:ph type="sldNum" sz="quarter" idx="18"/>
          </p:nvPr>
        </p:nvSpPr>
        <p:spPr/>
        <p:txBody>
          <a:bodyPr/>
          <a:lstStyle/>
          <a:p>
            <a:fld id="{442AD375-037F-43D0-B059-5172DA06796A}" type="slidenum">
              <a:rPr lang="de-CH" smtClean="0"/>
              <a:pPr/>
              <a:t>‹Nr.›</a:t>
            </a:fld>
            <a:endParaRPr lang="de-CH"/>
          </a:p>
        </p:txBody>
      </p:sp>
      <p:sp>
        <p:nvSpPr>
          <p:cNvPr id="15" name="Bildplatzhalter 4">
            <a:extLst>
              <a:ext uri="{FF2B5EF4-FFF2-40B4-BE49-F238E27FC236}">
                <a16:creationId xmlns:a16="http://schemas.microsoft.com/office/drawing/2014/main" id="{676FF195-5B20-43EC-B059-82D8918A228E}"/>
              </a:ext>
            </a:extLst>
          </p:cNvPr>
          <p:cNvSpPr>
            <a:spLocks noGrp="1"/>
          </p:cNvSpPr>
          <p:nvPr>
            <p:ph type="pic" sz="quarter" idx="15" hasCustomPrompt="1"/>
          </p:nvPr>
        </p:nvSpPr>
        <p:spPr>
          <a:xfrm>
            <a:off x="3373" y="0"/>
            <a:ext cx="12192000" cy="6858000"/>
          </a:xfrm>
          <a:pattFill prst="lgCheck">
            <a:fgClr>
              <a:schemeClr val="bg1">
                <a:lumMod val="85000"/>
              </a:schemeClr>
            </a:fgClr>
            <a:bgClr>
              <a:schemeClr val="bg1"/>
            </a:bgClr>
          </a:pattFill>
        </p:spPr>
        <p:txBody>
          <a:bodyPr lIns="1620000" tIns="720000" anchor="ctr"/>
          <a:lstStyle>
            <a:lvl1pPr algn="ctr">
              <a:defRPr sz="1200"/>
            </a:lvl1pPr>
          </a:lstStyle>
          <a:p>
            <a:r>
              <a:rPr lang="de-CH"/>
              <a:t>Bild durch Klicken auf Symbol hinzufügen.</a:t>
            </a:r>
            <a:br>
              <a:rPr lang="de-CH"/>
            </a:br>
            <a:r>
              <a:rPr lang="de-CH"/>
              <a:t>Bild gegebenenfalls in den Hintergrund stellen.</a:t>
            </a:r>
          </a:p>
        </p:txBody>
      </p:sp>
      <p:sp>
        <p:nvSpPr>
          <p:cNvPr id="10" name="Textplatzhalter 11">
            <a:extLst>
              <a:ext uri="{FF2B5EF4-FFF2-40B4-BE49-F238E27FC236}">
                <a16:creationId xmlns:a16="http://schemas.microsoft.com/office/drawing/2014/main" id="{E35F8307-C189-48EF-B394-613EAF9BB80B}"/>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8" name="Textplatzhalter 7">
            <a:extLst>
              <a:ext uri="{FF2B5EF4-FFF2-40B4-BE49-F238E27FC236}">
                <a16:creationId xmlns:a16="http://schemas.microsoft.com/office/drawing/2014/main" id="{3939FF6E-BA9B-454B-8C92-87A73C60C468}"/>
              </a:ext>
            </a:extLst>
          </p:cNvPr>
          <p:cNvSpPr>
            <a:spLocks noGrp="1"/>
          </p:cNvSpPr>
          <p:nvPr>
            <p:ph type="body" sz="quarter" idx="13" hasCustomPrompt="1"/>
          </p:nvPr>
        </p:nvSpPr>
        <p:spPr>
          <a:xfrm rot="5400000">
            <a:off x="-206909" y="814286"/>
            <a:ext cx="5646589" cy="5232770"/>
          </a:xfrm>
          <a:prstGeom prst="trapezoid">
            <a:avLst>
              <a:gd name="adj" fmla="val 19131"/>
            </a:avLst>
          </a:prstGeom>
          <a:solidFill>
            <a:schemeClr val="accent3">
              <a:alpha val="80000"/>
            </a:schemeClr>
          </a:solidFill>
        </p:spPr>
        <p:txBody>
          <a:bodyPr vert="vert270" lIns="0" tIns="0" bIns="612000" anchor="ctr"/>
          <a:lstStyle>
            <a:lvl1pPr>
              <a:defRPr sz="100">
                <a:no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a:t> </a:t>
            </a:r>
            <a:endParaRPr lang="de-CH"/>
          </a:p>
        </p:txBody>
      </p:sp>
      <p:sp>
        <p:nvSpPr>
          <p:cNvPr id="3" name="Untertitel 2"/>
          <p:cNvSpPr>
            <a:spLocks noGrp="1"/>
          </p:cNvSpPr>
          <p:nvPr>
            <p:ph type="subTitle" idx="1" hasCustomPrompt="1"/>
          </p:nvPr>
        </p:nvSpPr>
        <p:spPr>
          <a:xfrm>
            <a:off x="547341" y="4005064"/>
            <a:ext cx="4108499" cy="493517"/>
          </a:xfrm>
        </p:spPr>
        <p:txBody>
          <a:bodyPr/>
          <a:lstStyle>
            <a:lvl1pPr marL="0" indent="0" algn="l">
              <a:lnSpc>
                <a:spcPct val="114000"/>
              </a:lnSpc>
              <a:buNone/>
              <a:defRPr sz="1400" spc="40"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noProof="0"/>
              <a:t>Vorname Name</a:t>
            </a:r>
            <a:br>
              <a:rPr lang="de-CH" noProof="0"/>
            </a:br>
            <a:r>
              <a:rPr lang="de-CH" noProof="0"/>
              <a:t>Ort, Datum</a:t>
            </a:r>
            <a:endParaRPr lang="de-CH"/>
          </a:p>
        </p:txBody>
      </p:sp>
      <p:sp>
        <p:nvSpPr>
          <p:cNvPr id="2" name="Titel 1"/>
          <p:cNvSpPr>
            <a:spLocks noGrp="1"/>
          </p:cNvSpPr>
          <p:nvPr>
            <p:ph type="ctrTitle" hasCustomPrompt="1"/>
          </p:nvPr>
        </p:nvSpPr>
        <p:spPr>
          <a:xfrm>
            <a:off x="547341" y="2238375"/>
            <a:ext cx="4108499" cy="1635738"/>
          </a:xfrm>
        </p:spPr>
        <p:txBody>
          <a:bodyPr anchor="b"/>
          <a:lstStyle>
            <a:lvl1pPr algn="l">
              <a:lnSpc>
                <a:spcPct val="92000"/>
              </a:lnSpc>
              <a:defRPr sz="5600" spc="100" baseline="0">
                <a:solidFill>
                  <a:schemeClr val="bg1"/>
                </a:solidFill>
              </a:defRPr>
            </a:lvl1pPr>
          </a:lstStyle>
          <a:p>
            <a:r>
              <a:rPr lang="de-CH"/>
              <a:t>Titel hinzufügen.</a:t>
            </a:r>
          </a:p>
        </p:txBody>
      </p:sp>
    </p:spTree>
    <p:extLst>
      <p:ext uri="{BB962C8B-B14F-4D97-AF65-F5344CB8AC3E}">
        <p14:creationId xmlns:p14="http://schemas.microsoft.com/office/powerpoint/2010/main" val="230609495"/>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Zwischen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6" name="Datumsplatzhalter 5"/>
          <p:cNvSpPr>
            <a:spLocks noGrp="1"/>
          </p:cNvSpPr>
          <p:nvPr>
            <p:ph type="dt" sz="half" idx="10"/>
          </p:nvPr>
        </p:nvSpPr>
        <p:spPr/>
        <p:txBody>
          <a:bodyPr/>
          <a:lstStyle/>
          <a:p>
            <a:fld id="{1BE51F75-5448-4F8E-A0A6-8542A1C2DF3D}"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4" name="Textplatzhalter 3">
            <a:extLst>
              <a:ext uri="{FF2B5EF4-FFF2-40B4-BE49-F238E27FC236}">
                <a16:creationId xmlns:a16="http://schemas.microsoft.com/office/drawing/2014/main" id="{C3BF9167-FA0E-41AA-AD3E-DD73E73C0289}"/>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3960274917"/>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Zwischentitel grau">
    <p:bg>
      <p:bgPr>
        <a:solidFill>
          <a:schemeClr val="bg2"/>
        </a:solidFill>
        <a:effectLst/>
      </p:bgPr>
    </p:bg>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BE51F75-5448-4F8E-A0A6-8542A1C2DF3D}"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Titel 1">
            <a:extLst>
              <a:ext uri="{FF2B5EF4-FFF2-40B4-BE49-F238E27FC236}">
                <a16:creationId xmlns:a16="http://schemas.microsoft.com/office/drawing/2014/main" id="{A1C0D8B2-21FB-408E-8F45-4FF07F7C9231}"/>
              </a:ext>
            </a:extLst>
          </p:cNvPr>
          <p:cNvSpPr>
            <a:spLocks noGrp="1"/>
          </p:cNvSpPr>
          <p:nvPr>
            <p:ph type="title" hasCustomPrompt="1"/>
          </p:nvPr>
        </p:nvSpPr>
        <p:spPr>
          <a:xfrm>
            <a:off x="1479550" y="1700808"/>
            <a:ext cx="9228138" cy="2258756"/>
          </a:xfrm>
        </p:spPr>
        <p:txBody>
          <a:bodyPr anchor="b"/>
          <a:lstStyle>
            <a:lvl1pPr algn="l">
              <a:lnSpc>
                <a:spcPct val="92000"/>
              </a:lnSpc>
              <a:defRPr sz="8400" spc="180" baseline="0"/>
            </a:lvl1pPr>
          </a:lstStyle>
          <a:p>
            <a:r>
              <a:rPr lang="de-CH"/>
              <a:t>Zwischentitel hinzufügen.</a:t>
            </a:r>
          </a:p>
        </p:txBody>
      </p:sp>
      <p:sp>
        <p:nvSpPr>
          <p:cNvPr id="10" name="Textplatzhalter 3">
            <a:extLst>
              <a:ext uri="{FF2B5EF4-FFF2-40B4-BE49-F238E27FC236}">
                <a16:creationId xmlns:a16="http://schemas.microsoft.com/office/drawing/2014/main" id="{97D0A394-EC1C-44E9-9B81-C9A02683B8E8}"/>
              </a:ext>
            </a:extLst>
          </p:cNvPr>
          <p:cNvSpPr>
            <a:spLocks noGrp="1"/>
          </p:cNvSpPr>
          <p:nvPr>
            <p:ph type="body" sz="quarter" idx="13" hasCustomPrompt="1"/>
          </p:nvPr>
        </p:nvSpPr>
        <p:spPr>
          <a:xfrm>
            <a:off x="1479550" y="4388988"/>
            <a:ext cx="9228138" cy="754313"/>
          </a:xfrm>
        </p:spPr>
        <p:txBody>
          <a:bodyPr/>
          <a:lstStyle>
            <a:lvl1pPr>
              <a:lnSpc>
                <a:spcPct val="92000"/>
              </a:lnSpc>
              <a:defRPr sz="2400" spc="180" baseline="0">
                <a:solidFill>
                  <a:schemeClr val="accent3"/>
                </a:solidFill>
              </a:defRPr>
            </a:lvl1pPr>
            <a:lvl2pPr>
              <a:defRPr sz="2400">
                <a:solidFill>
                  <a:schemeClr val="accent3"/>
                </a:solidFill>
              </a:defRPr>
            </a:lvl2pPr>
            <a:lvl3pPr>
              <a:defRPr sz="2400">
                <a:solidFill>
                  <a:schemeClr val="accent3"/>
                </a:solidFill>
              </a:defRPr>
            </a:lvl3pPr>
            <a:lvl4pPr>
              <a:defRPr sz="2400">
                <a:solidFill>
                  <a:schemeClr val="accent3"/>
                </a:solidFill>
              </a:defRPr>
            </a:lvl4pPr>
            <a:lvl5pPr>
              <a:defRPr sz="2400">
                <a:solidFill>
                  <a:schemeClr val="accent3"/>
                </a:solidFill>
              </a:defRPr>
            </a:lvl5pPr>
          </a:lstStyle>
          <a:p>
            <a:pPr lvl="0"/>
            <a:r>
              <a:rPr lang="de-DE"/>
              <a:t>Untertitel hinzufügen.</a:t>
            </a:r>
          </a:p>
        </p:txBody>
      </p:sp>
    </p:spTree>
    <p:extLst>
      <p:ext uri="{BB962C8B-B14F-4D97-AF65-F5344CB8AC3E}">
        <p14:creationId xmlns:p14="http://schemas.microsoft.com/office/powerpoint/2010/main" val="1054533527"/>
      </p:ext>
    </p:extLst>
  </p:cSld>
  <p:clrMapOvr>
    <a:masterClrMapping/>
  </p:clrMapOvr>
  <p:extLst>
    <p:ext uri="{DCECCB84-F9BA-43D5-87BE-67443E8EF086}">
      <p15:sldGuideLst xmlns:p15="http://schemas.microsoft.com/office/powerpoint/2012/main">
        <p15:guide id="1" pos="6745">
          <p15:clr>
            <a:srgbClr val="FBAE40"/>
          </p15:clr>
        </p15:guide>
        <p15:guide id="2" pos="932">
          <p15:clr>
            <a:srgbClr val="FBAE40"/>
          </p15:clr>
        </p15:guide>
        <p15:guide id="3" orient="horz" pos="113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11" name="Textplatzhalter 11">
            <a:extLst>
              <a:ext uri="{FF2B5EF4-FFF2-40B4-BE49-F238E27FC236}">
                <a16:creationId xmlns:a16="http://schemas.microsoft.com/office/drawing/2014/main" id="{EA1A02B1-1978-4A3B-80F7-766D1FB44F86}"/>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
        <p:nvSpPr>
          <p:cNvPr id="16" name="Textplatzhalter 15">
            <a:extLst>
              <a:ext uri="{FF2B5EF4-FFF2-40B4-BE49-F238E27FC236}">
                <a16:creationId xmlns:a16="http://schemas.microsoft.com/office/drawing/2014/main" id="{D8CF4041-AA59-42D9-BE67-DE9BDA6E921D}"/>
              </a:ext>
            </a:extLst>
          </p:cNvPr>
          <p:cNvSpPr>
            <a:spLocks noGrp="1"/>
          </p:cNvSpPr>
          <p:nvPr>
            <p:ph type="body" sz="quarter" idx="18" hasCustomPrompt="1"/>
          </p:nvPr>
        </p:nvSpPr>
        <p:spPr>
          <a:xfrm>
            <a:off x="4367808" y="1736725"/>
            <a:ext cx="7279680" cy="3348038"/>
          </a:xfrm>
        </p:spPr>
        <p:txBody>
          <a:bodyPr anchor="ctr"/>
          <a:lstStyle>
            <a:lvl1pPr>
              <a:defRPr sz="3200">
                <a:solidFill>
                  <a:schemeClr val="bg1"/>
                </a:solidFill>
              </a:defRPr>
            </a:lvl1pPr>
            <a:lvl2pPr>
              <a:spcBef>
                <a:spcPts val="1800"/>
              </a:spcBef>
              <a:buFontTx/>
              <a:buNone/>
              <a:defRPr sz="1600">
                <a:solidFill>
                  <a:schemeClr val="bg1"/>
                </a:solidFill>
              </a:defRPr>
            </a:lvl2pPr>
          </a:lstStyle>
          <a:p>
            <a:pPr lvl="0"/>
            <a:r>
              <a:rPr lang="de-CH" noProof="0"/>
              <a:t>«Zitat hinzufügen»</a:t>
            </a:r>
          </a:p>
          <a:p>
            <a:pPr lvl="1"/>
            <a:r>
              <a:rPr lang="de-CH" noProof="0"/>
              <a:t>Zweite Ebene</a:t>
            </a:r>
          </a:p>
        </p:txBody>
      </p:sp>
      <p:sp>
        <p:nvSpPr>
          <p:cNvPr id="6" name="Datumsplatzhalter 5"/>
          <p:cNvSpPr>
            <a:spLocks noGrp="1"/>
          </p:cNvSpPr>
          <p:nvPr>
            <p:ph type="dt" sz="half" idx="10"/>
          </p:nvPr>
        </p:nvSpPr>
        <p:spPr/>
        <p:txBody>
          <a:bodyPr/>
          <a:lstStyle>
            <a:lvl1pPr>
              <a:defRPr>
                <a:solidFill>
                  <a:schemeClr val="bg1"/>
                </a:solidFill>
              </a:defRPr>
            </a:lvl1pPr>
          </a:lstStyle>
          <a:p>
            <a:fld id="{19157058-9CCA-4EAA-8D6E-1E10DBF3C026}" type="datetimeyyyy">
              <a:rPr lang="de-CH" smtClean="0"/>
              <a:pPr/>
              <a:t>2025</a:t>
            </a:fld>
            <a:endParaRPr lang="de-CH"/>
          </a:p>
        </p:txBody>
      </p:sp>
      <p:sp>
        <p:nvSpPr>
          <p:cNvPr id="7" name="Fußzeilenplatzhalter 6"/>
          <p:cNvSpPr>
            <a:spLocks noGrp="1"/>
          </p:cNvSpPr>
          <p:nvPr>
            <p:ph type="ftr" sz="quarter" idx="11"/>
          </p:nvPr>
        </p:nvSpPr>
        <p:spPr/>
        <p:txBody>
          <a:bodyPr/>
          <a:lstStyle>
            <a:lvl1pPr>
              <a:defRPr>
                <a:solidFill>
                  <a:schemeClr val="bg1"/>
                </a:solidFill>
              </a:defRPr>
            </a:lvl1p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lvl1pPr>
              <a:defRPr>
                <a:solidFill>
                  <a:schemeClr val="bg1"/>
                </a:solidFill>
              </a:defRPr>
            </a:lvl1pPr>
          </a:lstStyle>
          <a:p>
            <a:fld id="{442AD375-037F-43D0-B059-5172DA06796A}" type="slidenum">
              <a:rPr lang="de-CH" smtClean="0"/>
              <a:pPr/>
              <a:t>‹Nr.›</a:t>
            </a:fld>
            <a:endParaRPr lang="de-CH"/>
          </a:p>
        </p:txBody>
      </p:sp>
    </p:spTree>
    <p:extLst>
      <p:ext uri="{BB962C8B-B14F-4D97-AF65-F5344CB8AC3E}">
        <p14:creationId xmlns:p14="http://schemas.microsoft.com/office/powerpoint/2010/main" val="4269970243"/>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lvl1pPr marL="514800" indent="-514800">
              <a:spcAft>
                <a:spcPts val="0"/>
              </a:spcAft>
              <a:buClr>
                <a:schemeClr val="tx2"/>
              </a:buClr>
              <a:buFont typeface="+mj-lt"/>
              <a:buAutoNum type="arabicPeriod"/>
              <a:tabLst>
                <a:tab pos="2779713" algn="l"/>
              </a:tabLst>
              <a:defRPr/>
            </a:lvl1pPr>
            <a:lvl2pPr marL="863600" indent="-358775">
              <a:spcAft>
                <a:spcPts val="0"/>
              </a:spcAft>
              <a:defRPr/>
            </a:lvl2pPr>
            <a:lvl3pPr marL="1224000">
              <a:spcAft>
                <a:spcPts val="0"/>
              </a:spcAft>
              <a:defRPr/>
            </a:lvl3pPr>
            <a:lvl4pPr marL="1584000">
              <a:spcAft>
                <a:spcPts val="0"/>
              </a:spcAft>
              <a:defRPr/>
            </a:lvl4pPr>
            <a:lvl5pPr marL="1944000">
              <a:spcAft>
                <a:spcPts val="0"/>
              </a:spcAft>
              <a:defRPr/>
            </a:lvl5pPr>
            <a:lvl6pPr marL="864000" indent="-358775">
              <a:spcAft>
                <a:spcPts val="0"/>
              </a:spcAft>
              <a:defRPr/>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3" name="Titel 2">
            <a:extLst>
              <a:ext uri="{FF2B5EF4-FFF2-40B4-BE49-F238E27FC236}">
                <a16:creationId xmlns:a16="http://schemas.microsoft.com/office/drawing/2014/main" id="{8EA05E9B-3600-457E-9428-1EB1B6893A7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170856137"/>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mit Bild">
    <p:spTree>
      <p:nvGrpSpPr>
        <p:cNvPr id="1" name=""/>
        <p:cNvGrpSpPr/>
        <p:nvPr/>
      </p:nvGrpSpPr>
      <p:grpSpPr>
        <a:xfrm>
          <a:off x="0" y="0"/>
          <a:ext cx="0" cy="0"/>
          <a:chOff x="0" y="0"/>
          <a:chExt cx="0" cy="0"/>
        </a:xfrm>
      </p:grpSpPr>
      <p:sp>
        <p:nvSpPr>
          <p:cNvPr id="12" name="Bildplatzhalter 4">
            <a:extLst>
              <a:ext uri="{FF2B5EF4-FFF2-40B4-BE49-F238E27FC236}">
                <a16:creationId xmlns:a16="http://schemas.microsoft.com/office/drawing/2014/main" id="{EA3DBB68-0F3E-4EF1-88C2-B9639789CB57}"/>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4" name="Textplatzhalter 3">
            <a:extLst>
              <a:ext uri="{FF2B5EF4-FFF2-40B4-BE49-F238E27FC236}">
                <a16:creationId xmlns:a16="http://schemas.microsoft.com/office/drawing/2014/main" id="{EE4D02E2-A28A-4103-A912-AEBEEDFF1EC7}"/>
              </a:ext>
            </a:extLst>
          </p:cNvPr>
          <p:cNvSpPr>
            <a:spLocks noGrp="1"/>
          </p:cNvSpPr>
          <p:nvPr>
            <p:ph type="body" sz="quarter" idx="17"/>
          </p:nvPr>
        </p:nvSpPr>
        <p:spPr>
          <a:xfrm>
            <a:off x="1484312" y="1949450"/>
            <a:ext cx="9223376" cy="4467225"/>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3" name="Titel 2">
            <a:extLst>
              <a:ext uri="{FF2B5EF4-FFF2-40B4-BE49-F238E27FC236}">
                <a16:creationId xmlns:a16="http://schemas.microsoft.com/office/drawing/2014/main" id="{2D8A3E21-9730-4EEA-9E2B-14BFA2EF24A9}"/>
              </a:ext>
            </a:extLst>
          </p:cNvPr>
          <p:cNvSpPr>
            <a:spLocks noGrp="1"/>
          </p:cNvSpPr>
          <p:nvPr>
            <p:ph type="title" hasCustomPrompt="1"/>
          </p:nvPr>
        </p:nvSpPr>
        <p:spPr/>
        <p:txBody>
          <a:bodyPr/>
          <a:lstStyle>
            <a:lvl1pPr>
              <a:defRPr>
                <a:solidFill>
                  <a:schemeClr val="bg1"/>
                </a:solidFill>
              </a:defRPr>
            </a:lvl1pPr>
          </a:lstStyle>
          <a:p>
            <a:r>
              <a:rPr lang="de-DE"/>
              <a:t>Titel hinzufügen.</a:t>
            </a:r>
            <a:endParaRPr lang="de-CH"/>
          </a:p>
        </p:txBody>
      </p:sp>
      <p:sp>
        <p:nvSpPr>
          <p:cNvPr id="11" name="Textplatzhalter 11">
            <a:extLst>
              <a:ext uri="{FF2B5EF4-FFF2-40B4-BE49-F238E27FC236}">
                <a16:creationId xmlns:a16="http://schemas.microsoft.com/office/drawing/2014/main" id="{00B82B8F-16BF-4FCA-AE87-5EEA8E91DFA0}"/>
              </a:ext>
            </a:extLst>
          </p:cNvPr>
          <p:cNvSpPr>
            <a:spLocks noGrp="1"/>
          </p:cNvSpPr>
          <p:nvPr>
            <p:ph type="body" sz="quarter" idx="16" hasCustomPrompt="1"/>
          </p:nvPr>
        </p:nvSpPr>
        <p:spPr>
          <a:xfrm>
            <a:off x="11087087" y="288131"/>
            <a:ext cx="561194" cy="197644"/>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4263527001"/>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1228">
          <p15:clr>
            <a:srgbClr val="FBAE40"/>
          </p15:clr>
        </p15:guide>
        <p15:guide id="4" orient="horz" pos="404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Objek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8" name="Inhaltsplatzhalter 7"/>
          <p:cNvSpPr>
            <a:spLocks noGrp="1"/>
          </p:cNvSpPr>
          <p:nvPr>
            <p:ph sz="quarter" idx="12" hasCustomPrompt="1"/>
          </p:nvPr>
        </p:nvSpPr>
        <p:spPr>
          <a:xfrm>
            <a:off x="719665" y="1509184"/>
            <a:ext cx="11040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pic>
        <p:nvPicPr>
          <p:cNvPr id="6" name="Logo_SBB_Symbol">
            <a:extLst>
              <a:ext uri="{FF2B5EF4-FFF2-40B4-BE49-F238E27FC236}">
                <a16:creationId xmlns:a16="http://schemas.microsoft.com/office/drawing/2014/main" id="{7E10FE14-391B-401F-99CE-D5050829437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1289727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7488" y="1949450"/>
            <a:ext cx="9220200" cy="4467882"/>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Tree>
    <p:extLst>
      <p:ext uri="{BB962C8B-B14F-4D97-AF65-F5344CB8AC3E}">
        <p14:creationId xmlns:p14="http://schemas.microsoft.com/office/powerpoint/2010/main" val="3576500803"/>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228">
          <p15:clr>
            <a:srgbClr val="FBAE40"/>
          </p15:clr>
        </p15:guide>
        <p15:guide id="5" pos="7336">
          <p15:clr>
            <a:srgbClr val="FBAE40"/>
          </p15:clr>
        </p15:guide>
        <p15:guide id="6" pos="34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el und Inhalt grau">
    <p:bg>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7" name="Datumsplatzhalter 6"/>
          <p:cNvSpPr>
            <a:spLocks noGrp="1"/>
          </p:cNvSpPr>
          <p:nvPr>
            <p:ph type="dt" sz="half" idx="10"/>
          </p:nvPr>
        </p:nvSpPr>
        <p:spPr/>
        <p:txBody>
          <a:bodyPr/>
          <a:lstStyle/>
          <a:p>
            <a:fld id="{FFABE6C4-0C31-4575-9A59-D685A98A87F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p:nvPr>
        </p:nvSpPr>
        <p:spPr>
          <a:xfrm>
            <a:off x="1487488" y="1949450"/>
            <a:ext cx="9220200" cy="4467882"/>
          </a:xfrm>
          <a:prstGeom prst="rect">
            <a:avLst/>
          </a:prstGeom>
        </p:spPr>
        <p:txBody>
          <a:bodyPr vert="horz" lIns="0" tIns="0" rIns="0" bIns="0" rtlCol="0">
            <a:no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201113518"/>
      </p:ext>
    </p:extLst>
  </p:cSld>
  <p:clrMapOvr>
    <a:masterClrMapping/>
  </p:clrMapOvr>
  <p:extLst>
    <p:ext uri="{DCECCB84-F9BA-43D5-87BE-67443E8EF086}">
      <p15:sldGuideLst xmlns:p15="http://schemas.microsoft.com/office/powerpoint/2012/main">
        <p15:guide id="1" orient="horz" pos="4043">
          <p15:clr>
            <a:srgbClr val="FBAE40"/>
          </p15:clr>
        </p15:guide>
        <p15:guide id="2" orient="horz" pos="1228">
          <p15:clr>
            <a:srgbClr val="FBAE40"/>
          </p15:clr>
        </p15:guide>
        <p15:guide id="3" pos="932">
          <p15:clr>
            <a:srgbClr val="FBAE40"/>
          </p15:clr>
        </p15:guide>
        <p15:guide id="4" pos="6745">
          <p15:clr>
            <a:srgbClr val="FBAE40"/>
          </p15:clr>
        </p15:guide>
        <p15:guide id="5" pos="7336">
          <p15:clr>
            <a:srgbClr val="FBAE40"/>
          </p15:clr>
        </p15:guide>
        <p15:guide id="6" pos="345">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3B4E90F-33B6-4714-8C8A-C32FF3072659}"/>
              </a:ext>
            </a:extLst>
          </p:cNvPr>
          <p:cNvSpPr>
            <a:spLocks noGrp="1"/>
          </p:cNvSpPr>
          <p:nvPr>
            <p:ph type="title" hasCustomPrompt="1"/>
          </p:nvPr>
        </p:nvSpPr>
        <p:spPr>
          <a:xfrm>
            <a:off x="1487488" y="493295"/>
            <a:ext cx="9004163"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057377042"/>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661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Zwei Inhalte grau">
    <p:bg>
      <p:bgPr>
        <a:solidFill>
          <a:schemeClr val="bg2"/>
        </a:solidFill>
        <a:effectLst/>
      </p:bgPr>
    </p:bg>
    <p:spTree>
      <p:nvGrpSpPr>
        <p:cNvPr id="1" name=""/>
        <p:cNvGrpSpPr/>
        <p:nvPr/>
      </p:nvGrpSpPr>
      <p:grpSpPr>
        <a:xfrm>
          <a:off x="0" y="0"/>
          <a:ext cx="0" cy="0"/>
          <a:chOff x="0" y="0"/>
          <a:chExt cx="0" cy="0"/>
        </a:xfrm>
      </p:grpSpPr>
      <p:sp>
        <p:nvSpPr>
          <p:cNvPr id="12" name="Inhaltsplatzhalter 3">
            <a:extLst>
              <a:ext uri="{FF2B5EF4-FFF2-40B4-BE49-F238E27FC236}">
                <a16:creationId xmlns:a16="http://schemas.microsoft.com/office/drawing/2014/main" id="{5A4905AD-A233-4987-BCB0-879019B59386}"/>
              </a:ext>
            </a:extLst>
          </p:cNvPr>
          <p:cNvSpPr>
            <a:spLocks noGrp="1"/>
          </p:cNvSpPr>
          <p:nvPr>
            <p:ph sz="quarter" idx="16"/>
          </p:nvPr>
        </p:nvSpPr>
        <p:spPr>
          <a:xfrm>
            <a:off x="6172063" y="1949450"/>
            <a:ext cx="4319588" cy="446852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8" name="Datumsplatzhalter 7"/>
          <p:cNvSpPr>
            <a:spLocks noGrp="1"/>
          </p:cNvSpPr>
          <p:nvPr>
            <p:ph type="dt" sz="half" idx="10"/>
          </p:nvPr>
        </p:nvSpPr>
        <p:spPr/>
        <p:txBody>
          <a:bodyPr/>
          <a:lstStyle/>
          <a:p>
            <a:fld id="{48AA4088-738D-4F0C-8C90-184A5F788505}"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1" name="Inhaltsplatzhalter 3">
            <a:extLst>
              <a:ext uri="{FF2B5EF4-FFF2-40B4-BE49-F238E27FC236}">
                <a16:creationId xmlns:a16="http://schemas.microsoft.com/office/drawing/2014/main" id="{1F11053E-81B7-4186-9FFA-9CB036BA3835}"/>
              </a:ext>
            </a:extLst>
          </p:cNvPr>
          <p:cNvSpPr>
            <a:spLocks noGrp="1"/>
          </p:cNvSpPr>
          <p:nvPr>
            <p:ph sz="quarter" idx="15"/>
          </p:nvPr>
        </p:nvSpPr>
        <p:spPr>
          <a:xfrm>
            <a:off x="1491345" y="1949738"/>
            <a:ext cx="4319588" cy="4468525"/>
          </a:xfrm>
        </p:spPr>
        <p:txBody>
          <a:bodyPr/>
          <a:lstStyle>
            <a:lvl1pPr>
              <a:lnSpc>
                <a:spcPct val="120000"/>
              </a:lnSpc>
              <a:defRPr sz="1400"/>
            </a:lvl1pPr>
            <a:lvl2pPr marL="215900" indent="-2159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F7D985BB-18B6-4513-922A-3940D912785F}"/>
              </a:ext>
            </a:extLst>
          </p:cNvPr>
          <p:cNvSpPr>
            <a:spLocks noGrp="1"/>
          </p:cNvSpPr>
          <p:nvPr>
            <p:ph type="title" hasCustomPrompt="1"/>
          </p:nvPr>
        </p:nvSpPr>
        <p:spPr>
          <a:xfrm>
            <a:off x="1487488" y="493295"/>
            <a:ext cx="9015412"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001919473"/>
      </p:ext>
    </p:extLst>
  </p:cSld>
  <p:clrMapOvr>
    <a:masterClrMapping/>
  </p:clrMapOvr>
  <p:extLst>
    <p:ext uri="{DCECCB84-F9BA-43D5-87BE-67443E8EF086}">
      <p15:sldGuideLst xmlns:p15="http://schemas.microsoft.com/office/powerpoint/2012/main">
        <p15:guide id="1" pos="3880">
          <p15:clr>
            <a:srgbClr val="FBAE40"/>
          </p15:clr>
        </p15:guide>
        <p15:guide id="2" pos="3664">
          <p15:clr>
            <a:srgbClr val="FBAE40"/>
          </p15:clr>
        </p15:guide>
        <p15:guide id="3" pos="6616">
          <p15:clr>
            <a:srgbClr val="FBAE40"/>
          </p15:clr>
        </p15:guide>
        <p15:guide id="4" pos="932">
          <p15:clr>
            <a:srgbClr val="FBAE40"/>
          </p15:clr>
        </p15:guide>
        <p15:guide id="5" orient="horz" pos="1228">
          <p15:clr>
            <a:srgbClr val="FBAE40"/>
          </p15:clr>
        </p15:guide>
        <p15:guide id="6" orient="horz" pos="4043">
          <p15:clr>
            <a:srgbClr val="FBAE40"/>
          </p15:clr>
        </p15:guide>
        <p15:guide id="7" pos="7336">
          <p15:clr>
            <a:srgbClr val="FBAE40"/>
          </p15:clr>
        </p15:guide>
        <p15:guide id="8" pos="321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rei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1574EBBD-E33C-4E0D-BEAA-05F39FCC7A12}"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Inhaltsplatzhalter 3">
            <a:extLst>
              <a:ext uri="{FF2B5EF4-FFF2-40B4-BE49-F238E27FC236}">
                <a16:creationId xmlns:a16="http://schemas.microsoft.com/office/drawing/2014/main" id="{2D1D70FF-B73A-44D8-AF52-B86C90DE4108}"/>
              </a:ext>
            </a:extLst>
          </p:cNvPr>
          <p:cNvSpPr>
            <a:spLocks noGrp="1"/>
          </p:cNvSpPr>
          <p:nvPr>
            <p:ph sz="quarter" idx="16"/>
          </p:nvPr>
        </p:nvSpPr>
        <p:spPr>
          <a:xfrm>
            <a:off x="5667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3" name="Inhaltsplatzhalter 3">
            <a:extLst>
              <a:ext uri="{FF2B5EF4-FFF2-40B4-BE49-F238E27FC236}">
                <a16:creationId xmlns:a16="http://schemas.microsoft.com/office/drawing/2014/main" id="{E296DA4F-01FE-48FF-9EB9-85CF5BF01B6F}"/>
              </a:ext>
            </a:extLst>
          </p:cNvPr>
          <p:cNvSpPr>
            <a:spLocks noGrp="1"/>
          </p:cNvSpPr>
          <p:nvPr>
            <p:ph sz="quarter" idx="17"/>
          </p:nvPr>
        </p:nvSpPr>
        <p:spPr>
          <a:xfrm>
            <a:off x="43039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05EF66CD-E082-4DD4-AF19-1277D4B0BAA6}"/>
              </a:ext>
            </a:extLst>
          </p:cNvPr>
          <p:cNvSpPr>
            <a:spLocks noGrp="1"/>
          </p:cNvSpPr>
          <p:nvPr>
            <p:ph sz="quarter" idx="18"/>
          </p:nvPr>
        </p:nvSpPr>
        <p:spPr>
          <a:xfrm>
            <a:off x="8041138" y="1949450"/>
            <a:ext cx="3600000" cy="4469085"/>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021E2109-7BFC-4F17-81BF-01827EE4C3B0}"/>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323188733"/>
      </p:ext>
    </p:extLst>
  </p:cSld>
  <p:clrMapOvr>
    <a:masterClrMapping/>
  </p:clrMapOvr>
  <p:extLst>
    <p:ext uri="{DCECCB84-F9BA-43D5-87BE-67443E8EF086}">
      <p15:sldGuideLst xmlns:p15="http://schemas.microsoft.com/office/powerpoint/2012/main">
        <p15:guide id="1" pos="349">
          <p15:clr>
            <a:srgbClr val="FBAE40"/>
          </p15:clr>
        </p15:guide>
        <p15:guide id="2" pos="2630">
          <p15:clr>
            <a:srgbClr val="FBAE40"/>
          </p15:clr>
        </p15:guide>
        <p15:guide id="3" pos="4979">
          <p15:clr>
            <a:srgbClr val="FBAE40"/>
          </p15:clr>
        </p15:guide>
        <p15:guide id="4" pos="5063">
          <p15:clr>
            <a:srgbClr val="FBAE40"/>
          </p15:clr>
        </p15:guide>
        <p15:guide id="5" pos="7336">
          <p15:clr>
            <a:srgbClr val="FBAE40"/>
          </p15:clr>
        </p15:guide>
        <p15:guide id="6" pos="2706">
          <p15:clr>
            <a:srgbClr val="FBAE40"/>
          </p15:clr>
        </p15:guide>
        <p15:guide id="7" orient="horz" pos="4043">
          <p15:clr>
            <a:srgbClr val="FBAE40"/>
          </p15:clr>
        </p15:guide>
        <p15:guide id="8" orient="horz" pos="122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Vier Inhalte">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96629306-0AA9-4524-9D9F-BF111CB62962}"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3" name="Inhaltsplatzhalter 3">
            <a:extLst>
              <a:ext uri="{FF2B5EF4-FFF2-40B4-BE49-F238E27FC236}">
                <a16:creationId xmlns:a16="http://schemas.microsoft.com/office/drawing/2014/main" id="{08517FB4-1478-449A-B35A-0071DA5D763D}"/>
              </a:ext>
            </a:extLst>
          </p:cNvPr>
          <p:cNvSpPr>
            <a:spLocks noGrp="1"/>
          </p:cNvSpPr>
          <p:nvPr>
            <p:ph sz="quarter" idx="17"/>
          </p:nvPr>
        </p:nvSpPr>
        <p:spPr>
          <a:xfrm>
            <a:off x="566738"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4" name="Inhaltsplatzhalter 3">
            <a:extLst>
              <a:ext uri="{FF2B5EF4-FFF2-40B4-BE49-F238E27FC236}">
                <a16:creationId xmlns:a16="http://schemas.microsoft.com/office/drawing/2014/main" id="{1A4ABB4F-2517-43F4-A0FC-DCE0C692E8FD}"/>
              </a:ext>
            </a:extLst>
          </p:cNvPr>
          <p:cNvSpPr>
            <a:spLocks noGrp="1"/>
          </p:cNvSpPr>
          <p:nvPr>
            <p:ph sz="quarter" idx="18"/>
          </p:nvPr>
        </p:nvSpPr>
        <p:spPr>
          <a:xfrm>
            <a:off x="3378201"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5" name="Inhaltsplatzhalter 3">
            <a:extLst>
              <a:ext uri="{FF2B5EF4-FFF2-40B4-BE49-F238E27FC236}">
                <a16:creationId xmlns:a16="http://schemas.microsoft.com/office/drawing/2014/main" id="{722827A8-E258-45E5-8ABC-AE4AE85283F8}"/>
              </a:ext>
            </a:extLst>
          </p:cNvPr>
          <p:cNvSpPr>
            <a:spLocks noGrp="1"/>
          </p:cNvSpPr>
          <p:nvPr>
            <p:ph sz="quarter" idx="19"/>
          </p:nvPr>
        </p:nvSpPr>
        <p:spPr>
          <a:xfrm>
            <a:off x="6189664"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6" name="Inhaltsplatzhalter 3">
            <a:extLst>
              <a:ext uri="{FF2B5EF4-FFF2-40B4-BE49-F238E27FC236}">
                <a16:creationId xmlns:a16="http://schemas.microsoft.com/office/drawing/2014/main" id="{9B3F32E6-2F69-44D2-83C6-CD6AA4BEDA96}"/>
              </a:ext>
            </a:extLst>
          </p:cNvPr>
          <p:cNvSpPr>
            <a:spLocks noGrp="1"/>
          </p:cNvSpPr>
          <p:nvPr>
            <p:ph sz="quarter" idx="20"/>
          </p:nvPr>
        </p:nvSpPr>
        <p:spPr>
          <a:xfrm>
            <a:off x="9001126" y="1949450"/>
            <a:ext cx="2640012" cy="4468253"/>
          </a:xfrm>
        </p:spPr>
        <p:txBody>
          <a:bodyPr/>
          <a:lstStyle>
            <a:lvl1pPr>
              <a:lnSpc>
                <a:spcPct val="120000"/>
              </a:lnSpc>
              <a:defRPr sz="1400"/>
            </a:lvl1pPr>
            <a:lvl2pPr marL="216000" indent="-216000">
              <a:lnSpc>
                <a:spcPct val="120000"/>
              </a:lnSpc>
              <a:defRPr sz="1400"/>
            </a:lvl2pPr>
            <a:lvl3pPr marL="432000" indent="-216000">
              <a:lnSpc>
                <a:spcPct val="120000"/>
              </a:lnSpc>
              <a:defRPr sz="1400"/>
            </a:lvl3pPr>
            <a:lvl4pPr marL="648000" indent="-216000">
              <a:lnSpc>
                <a:spcPct val="120000"/>
              </a:lnSpc>
              <a:defRPr sz="1400"/>
            </a:lvl4pPr>
            <a:lvl5pPr marL="864000" indent="-216000">
              <a:lnSpc>
                <a:spcPct val="120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43DC29E0-21E5-4AA6-86AE-F91A14405158}"/>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270142305"/>
      </p:ext>
    </p:extLst>
  </p:cSld>
  <p:clrMapOvr>
    <a:masterClrMapping/>
  </p:clrMapOvr>
  <p:extLst>
    <p:ext uri="{DCECCB84-F9BA-43D5-87BE-67443E8EF086}">
      <p15:sldGuideLst xmlns:p15="http://schemas.microsoft.com/office/powerpoint/2012/main">
        <p15:guide id="1" pos="349">
          <p15:clr>
            <a:srgbClr val="FBAE40"/>
          </p15:clr>
        </p15:guide>
        <p15:guide id="2" pos="7336">
          <p15:clr>
            <a:srgbClr val="FBAE40"/>
          </p15:clr>
        </p15:guide>
        <p15:guide id="3" pos="5665">
          <p15:clr>
            <a:srgbClr val="FBAE40"/>
          </p15:clr>
        </p15:guide>
        <p15:guide id="4" pos="5567">
          <p15:clr>
            <a:srgbClr val="FBAE40"/>
          </p15:clr>
        </p15:guide>
        <p15:guide id="5" pos="3896">
          <p15:clr>
            <a:srgbClr val="FBAE40"/>
          </p15:clr>
        </p15:guide>
        <p15:guide id="6" pos="3793">
          <p15:clr>
            <a:srgbClr val="FBAE40"/>
          </p15:clr>
        </p15:guide>
        <p15:guide id="7" pos="2027">
          <p15:clr>
            <a:srgbClr val="FBAE40"/>
          </p15:clr>
        </p15:guide>
        <p15:guide id="8" pos="2126">
          <p15:clr>
            <a:srgbClr val="FBAE40"/>
          </p15:clr>
        </p15:guide>
        <p15:guide id="9" orient="horz" pos="1228">
          <p15:clr>
            <a:srgbClr val="FBAE40"/>
          </p15:clr>
        </p15:guide>
        <p15:guide id="10" orient="horz" pos="404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ld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959602" y="1949451"/>
            <a:ext cx="4681536" cy="4325018"/>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 name="Titel 2">
            <a:extLst>
              <a:ext uri="{FF2B5EF4-FFF2-40B4-BE49-F238E27FC236}">
                <a16:creationId xmlns:a16="http://schemas.microsoft.com/office/drawing/2014/main" id="{181DE798-3315-46D1-8982-1EC3DCDA15A7}"/>
              </a:ext>
            </a:extLst>
          </p:cNvPr>
          <p:cNvSpPr>
            <a:spLocks noGrp="1"/>
          </p:cNvSpPr>
          <p:nvPr>
            <p:ph type="title" hasCustomPrompt="1"/>
          </p:nvPr>
        </p:nvSpPr>
        <p:spPr>
          <a:xfrm>
            <a:off x="6959601" y="493295"/>
            <a:ext cx="3748087" cy="848226"/>
          </a:xfrm>
        </p:spPr>
        <p:txBody>
          <a:bodyPr/>
          <a:lstStyle>
            <a:lvl1pPr>
              <a:defRPr/>
            </a:lvl1pPr>
          </a:lstStyle>
          <a:p>
            <a:r>
              <a:rPr lang="de-DE"/>
              <a:t>Titel hinzufügen.</a:t>
            </a:r>
            <a:endParaRPr lang="de-CH"/>
          </a:p>
        </p:txBody>
      </p:sp>
      <p:sp>
        <p:nvSpPr>
          <p:cNvPr id="12" name="Bildplatzhalter 4">
            <a:extLst>
              <a:ext uri="{FF2B5EF4-FFF2-40B4-BE49-F238E27FC236}">
                <a16:creationId xmlns:a16="http://schemas.microsoft.com/office/drawing/2014/main" id="{F5AB9AC5-9618-4880-9803-18A1618DB523}"/>
              </a:ext>
            </a:extLst>
          </p:cNvPr>
          <p:cNvSpPr>
            <a:spLocks noGrp="1"/>
          </p:cNvSpPr>
          <p:nvPr>
            <p:ph type="pic" sz="quarter" idx="15"/>
          </p:nvPr>
        </p:nvSpPr>
        <p:spPr>
          <a:xfrm>
            <a:off x="0" y="584684"/>
            <a:ext cx="6040438" cy="5689116"/>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2433554545"/>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4384">
          <p15:clr>
            <a:srgbClr val="FBAE40"/>
          </p15:clr>
        </p15:guide>
        <p15:guide id="4" pos="7336">
          <p15:clr>
            <a:srgbClr val="FBAE40"/>
          </p15:clr>
        </p15:guide>
        <p15:guide id="5" pos="5055">
          <p15:clr>
            <a:srgbClr val="FBAE40"/>
          </p15:clr>
        </p15:guide>
        <p15:guide id="6" pos="3805">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ild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8976320" y="1052736"/>
            <a:ext cx="2664817" cy="5221734"/>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1" y="1052736"/>
            <a:ext cx="8441635" cy="52217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 name="Titel 1">
            <a:extLst>
              <a:ext uri="{FF2B5EF4-FFF2-40B4-BE49-F238E27FC236}">
                <a16:creationId xmlns:a16="http://schemas.microsoft.com/office/drawing/2014/main" id="{AE50D17D-F2ED-4307-B9CF-CDFB45AF6CFA}"/>
              </a:ext>
            </a:extLst>
          </p:cNvPr>
          <p:cNvSpPr>
            <a:spLocks noGrp="1"/>
          </p:cNvSpPr>
          <p:nvPr>
            <p:ph type="title" hasCustomPrompt="1"/>
          </p:nvPr>
        </p:nvSpPr>
        <p:spPr>
          <a:xfrm>
            <a:off x="1487488" y="493295"/>
            <a:ext cx="6954146" cy="451429"/>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1748219606"/>
      </p:ext>
    </p:extLst>
  </p:cSld>
  <p:clrMapOvr>
    <a:masterClrMapping/>
  </p:clrMapOvr>
  <p:extLst>
    <p:ext uri="{DCECCB84-F9BA-43D5-87BE-67443E8EF086}">
      <p15:sldGuideLst xmlns:p15="http://schemas.microsoft.com/office/powerpoint/2012/main">
        <p15:guide id="2" orient="horz" pos="3952">
          <p15:clr>
            <a:srgbClr val="FBAE40"/>
          </p15:clr>
        </p15:guide>
        <p15:guide id="4" pos="7336">
          <p15:clr>
            <a:srgbClr val="FBAE40"/>
          </p15:clr>
        </p15:guide>
        <p15:guide id="5" pos="5320">
          <p15:clr>
            <a:srgbClr val="FBAE40"/>
          </p15:clr>
        </p15:guide>
        <p15:guide id="6" orient="horz" pos="122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1243" y="1046110"/>
            <a:ext cx="5486817" cy="522216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1046109"/>
            <a:ext cx="5486817" cy="522217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4" name="Titel 3">
            <a:extLst>
              <a:ext uri="{FF2B5EF4-FFF2-40B4-BE49-F238E27FC236}">
                <a16:creationId xmlns:a16="http://schemas.microsoft.com/office/drawing/2014/main" id="{1F51E53D-C313-41FC-A50A-98353390A227}"/>
              </a:ext>
            </a:extLst>
          </p:cNvPr>
          <p:cNvSpPr>
            <a:spLocks noGrp="1"/>
          </p:cNvSpPr>
          <p:nvPr>
            <p:ph type="title" hasCustomPrompt="1"/>
          </p:nvPr>
        </p:nvSpPr>
        <p:spPr>
          <a:xfrm>
            <a:off x="559742" y="538430"/>
            <a:ext cx="5462064" cy="262689"/>
          </a:xfrm>
        </p:spPr>
        <p:txBody>
          <a:bodyPr/>
          <a:lstStyle>
            <a:lvl1pPr>
              <a:defRPr sz="1600"/>
            </a:lvl1pPr>
          </a:lstStyle>
          <a:p>
            <a:r>
              <a:rPr lang="de-DE"/>
              <a:t>Titel hinzufügen.</a:t>
            </a:r>
            <a:endParaRPr lang="de-CH"/>
          </a:p>
        </p:txBody>
      </p:sp>
      <p:sp>
        <p:nvSpPr>
          <p:cNvPr id="6" name="Textplatzhalter 5">
            <a:extLst>
              <a:ext uri="{FF2B5EF4-FFF2-40B4-BE49-F238E27FC236}">
                <a16:creationId xmlns:a16="http://schemas.microsoft.com/office/drawing/2014/main" id="{2B014520-9BB1-4AC3-9DDF-40162DCBE21F}"/>
              </a:ext>
            </a:extLst>
          </p:cNvPr>
          <p:cNvSpPr>
            <a:spLocks noGrp="1"/>
          </p:cNvSpPr>
          <p:nvPr>
            <p:ph type="body" sz="quarter" idx="17" hasCustomPrompt="1"/>
          </p:nvPr>
        </p:nvSpPr>
        <p:spPr>
          <a:xfrm>
            <a:off x="6167438" y="538430"/>
            <a:ext cx="454025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327572643"/>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655">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Zwei Bilder und Text 1">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5472502"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166768" y="3609019"/>
            <a:ext cx="5474369"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436" y="584684"/>
            <a:ext cx="5474369"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E2A2652-2BC1-44A2-B054-B7F5D1FF7A71}"/>
              </a:ext>
            </a:extLst>
          </p:cNvPr>
          <p:cNvSpPr>
            <a:spLocks noGrp="1"/>
          </p:cNvSpPr>
          <p:nvPr>
            <p:ph type="pic" sz="quarter" idx="16"/>
          </p:nvPr>
        </p:nvSpPr>
        <p:spPr>
          <a:xfrm>
            <a:off x="6166769" y="584683"/>
            <a:ext cx="5474369" cy="277764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917859644"/>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3795">
          <p15:clr>
            <a:srgbClr val="FBAE40"/>
          </p15:clr>
        </p15:guide>
        <p15:guide id="6" pos="337">
          <p15:clr>
            <a:srgbClr val="FBAE40"/>
          </p15:clr>
        </p15:guide>
        <p15:guide id="7" pos="3880">
          <p15:clr>
            <a:srgbClr val="FBAE40"/>
          </p15:clr>
        </p15:guide>
        <p15:guide id="8" pos="733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Text und Objek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Objektfolie.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8" name="Inhaltsplatzhalter 7"/>
          <p:cNvSpPr>
            <a:spLocks noGrp="1"/>
          </p:cNvSpPr>
          <p:nvPr>
            <p:ph sz="quarter" idx="12" hasCustomPrompt="1"/>
          </p:nvPr>
        </p:nvSpPr>
        <p:spPr>
          <a:xfrm>
            <a:off x="719665" y="2467200"/>
            <a:ext cx="11040000" cy="41280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Textplatzhalter 6"/>
          <p:cNvSpPr>
            <a:spLocks noGrp="1"/>
          </p:cNvSpPr>
          <p:nvPr>
            <p:ph type="body" sz="quarter" idx="13" hasCustomPrompt="1"/>
          </p:nvPr>
        </p:nvSpPr>
        <p:spPr>
          <a:xfrm>
            <a:off x="719667" y="1509184"/>
            <a:ext cx="11038417" cy="854400"/>
          </a:xfrm>
        </p:spPr>
        <p:txBody>
          <a:bodyPr/>
          <a:lstStyle>
            <a:lvl1pPr marL="0" indent="0">
              <a:buNone/>
              <a:defRPr/>
            </a:lvl1pPr>
          </a:lstStyle>
          <a:p>
            <a:pPr lvl="0"/>
            <a:r>
              <a:rPr lang="de-DE" noProof="0"/>
              <a:t>Text durch Klicken hinzufügen</a:t>
            </a:r>
          </a:p>
        </p:txBody>
      </p:sp>
      <p:pic>
        <p:nvPicPr>
          <p:cNvPr id="9" name="Logo_SBB_Symbol">
            <a:extLst>
              <a:ext uri="{FF2B5EF4-FFF2-40B4-BE49-F238E27FC236}">
                <a16:creationId xmlns:a16="http://schemas.microsoft.com/office/drawing/2014/main" id="{0D917B75-7E27-45DF-8CD5-2AD4188F42D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48075470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Zwei Bilder und Text 2">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6557964" y="1949451"/>
            <a:ext cx="5083174" cy="4325018"/>
          </a:xfrm>
        </p:spPr>
        <p:txBody>
          <a:bodyPr/>
          <a:lstStyle>
            <a:lvl1pPr>
              <a:lnSpc>
                <a:spcPct val="112000"/>
              </a:lnSpc>
              <a:defRPr sz="1400"/>
            </a:lvl1pPr>
            <a:lvl2pPr marL="216000" indent="-216000">
              <a:lnSpc>
                <a:spcPct val="112000"/>
              </a:lnSpc>
              <a:defRPr sz="1400"/>
            </a:lvl2pPr>
            <a:lvl3pPr marL="432000" indent="-216000">
              <a:lnSpc>
                <a:spcPct val="112000"/>
              </a:lnSpc>
              <a:defRPr sz="1400"/>
            </a:lvl3pPr>
            <a:lvl4pPr marL="648000" indent="-216000">
              <a:lnSpc>
                <a:spcPct val="112000"/>
              </a:lnSpc>
              <a:defRPr sz="1400"/>
            </a:lvl4pPr>
            <a:lvl5pPr marL="864000" indent="-216000">
              <a:lnSpc>
                <a:spcPct val="112000"/>
              </a:lnSpc>
              <a:defRPr sz="1400"/>
            </a:lvl5pPr>
            <a:lvl6pPr marL="216000" indent="-216000">
              <a:lnSpc>
                <a:spcPct val="112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550862" y="584684"/>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6C4C6B99-9B0B-4488-BFD9-0201BA21A7D1}"/>
              </a:ext>
            </a:extLst>
          </p:cNvPr>
          <p:cNvSpPr>
            <a:spLocks noGrp="1"/>
          </p:cNvSpPr>
          <p:nvPr>
            <p:ph type="pic" sz="quarter" idx="15"/>
          </p:nvPr>
        </p:nvSpPr>
        <p:spPr>
          <a:xfrm>
            <a:off x="550862" y="3501492"/>
            <a:ext cx="5479138" cy="277230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3" name="Titel 2">
            <a:extLst>
              <a:ext uri="{FF2B5EF4-FFF2-40B4-BE49-F238E27FC236}">
                <a16:creationId xmlns:a16="http://schemas.microsoft.com/office/drawing/2014/main" id="{28C76682-594C-451F-B868-929E3C271970}"/>
              </a:ext>
            </a:extLst>
          </p:cNvPr>
          <p:cNvSpPr>
            <a:spLocks noGrp="1"/>
          </p:cNvSpPr>
          <p:nvPr>
            <p:ph type="title" hasCustomPrompt="1"/>
          </p:nvPr>
        </p:nvSpPr>
        <p:spPr>
          <a:xfrm>
            <a:off x="6557962" y="493295"/>
            <a:ext cx="4149726"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900724284"/>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3" pos="3805">
          <p15:clr>
            <a:srgbClr val="FBAE40"/>
          </p15:clr>
        </p15:guide>
        <p15:guide id="4" pos="7336">
          <p15:clr>
            <a:srgbClr val="FBAE40"/>
          </p15:clr>
        </p15:guide>
        <p15:guide id="5" pos="4131">
          <p15:clr>
            <a:srgbClr val="FBAE40"/>
          </p15:clr>
        </p15:guide>
        <p15:guide id="6" pos="345">
          <p15:clr>
            <a:srgbClr val="FBAE40"/>
          </p15:clr>
        </p15:guide>
        <p15:guide id="7" orient="horz" pos="2118">
          <p15:clr>
            <a:srgbClr val="FBAE40"/>
          </p15:clr>
        </p15:guide>
        <p15:guide id="8" orient="horz" pos="2202">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4774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441"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922"/>
            <a:ext cx="3600000" cy="522798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2" name="Titel 3">
            <a:extLst>
              <a:ext uri="{FF2B5EF4-FFF2-40B4-BE49-F238E27FC236}">
                <a16:creationId xmlns:a16="http://schemas.microsoft.com/office/drawing/2014/main" id="{8D7BA7E7-E234-4A0A-84DE-57AA9B9057CE}"/>
              </a:ext>
            </a:extLst>
          </p:cNvPr>
          <p:cNvSpPr>
            <a:spLocks noGrp="1"/>
          </p:cNvSpPr>
          <p:nvPr>
            <p:ph type="title" hasCustomPrompt="1"/>
          </p:nvPr>
        </p:nvSpPr>
        <p:spPr>
          <a:xfrm>
            <a:off x="547746" y="538430"/>
            <a:ext cx="3600000" cy="262689"/>
          </a:xfrm>
        </p:spPr>
        <p:txBody>
          <a:bodyPr/>
          <a:lstStyle>
            <a:lvl1pPr>
              <a:defRPr sz="1600"/>
            </a:lvl1pPr>
          </a:lstStyle>
          <a:p>
            <a:r>
              <a:rPr lang="de-DE"/>
              <a:t>Titel hinzufügen.</a:t>
            </a:r>
            <a:endParaRPr lang="de-CH"/>
          </a:p>
        </p:txBody>
      </p:sp>
      <p:sp>
        <p:nvSpPr>
          <p:cNvPr id="16" name="Textplatzhalter 5">
            <a:extLst>
              <a:ext uri="{FF2B5EF4-FFF2-40B4-BE49-F238E27FC236}">
                <a16:creationId xmlns:a16="http://schemas.microsoft.com/office/drawing/2014/main" id="{6BE1D084-20F1-40AB-A68B-EA733A683D45}"/>
              </a:ext>
            </a:extLst>
          </p:cNvPr>
          <p:cNvSpPr>
            <a:spLocks noGrp="1"/>
          </p:cNvSpPr>
          <p:nvPr>
            <p:ph type="body" sz="quarter" idx="19" hasCustomPrompt="1"/>
          </p:nvPr>
        </p:nvSpPr>
        <p:spPr>
          <a:xfrm>
            <a:off x="4289425" y="538430"/>
            <a:ext cx="36000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
        <p:nvSpPr>
          <p:cNvPr id="19" name="Textplatzhalter 5">
            <a:extLst>
              <a:ext uri="{FF2B5EF4-FFF2-40B4-BE49-F238E27FC236}">
                <a16:creationId xmlns:a16="http://schemas.microsoft.com/office/drawing/2014/main" id="{38CE26F8-95BC-41DC-8383-7DFCBA2157F5}"/>
              </a:ext>
            </a:extLst>
          </p:cNvPr>
          <p:cNvSpPr>
            <a:spLocks noGrp="1"/>
          </p:cNvSpPr>
          <p:nvPr>
            <p:ph type="body" sz="quarter" idx="20" hasCustomPrompt="1"/>
          </p:nvPr>
        </p:nvSpPr>
        <p:spPr>
          <a:xfrm>
            <a:off x="8047388" y="538430"/>
            <a:ext cx="2660300" cy="262689"/>
          </a:xfrm>
        </p:spPr>
        <p:txBody>
          <a:bodyPr/>
          <a:lstStyle>
            <a:lvl1pPr>
              <a:defRPr sz="1600" spc="60" baseline="0">
                <a:solidFill>
                  <a:schemeClr val="accent3"/>
                </a:solidFill>
              </a:defRPr>
            </a:lvl1pPr>
            <a:lvl2pPr>
              <a:defRPr sz="1600"/>
            </a:lvl2pPr>
            <a:lvl3pPr>
              <a:defRPr sz="1600"/>
            </a:lvl3pPr>
            <a:lvl4pPr>
              <a:defRPr sz="1600"/>
            </a:lvl4pPr>
            <a:lvl5pPr>
              <a:defRPr sz="1600"/>
            </a:lvl5pPr>
          </a:lstStyle>
          <a:p>
            <a:pPr lvl="0"/>
            <a:r>
              <a:rPr lang="de-DE"/>
              <a:t>Titel hinzufügen.</a:t>
            </a:r>
          </a:p>
        </p:txBody>
      </p:sp>
    </p:spTree>
    <p:extLst>
      <p:ext uri="{BB962C8B-B14F-4D97-AF65-F5344CB8AC3E}">
        <p14:creationId xmlns:p14="http://schemas.microsoft.com/office/powerpoint/2010/main" val="4175679686"/>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rei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3609019"/>
            <a:ext cx="3599999" cy="2809243"/>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584684"/>
            <a:ext cx="3622675"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584684"/>
            <a:ext cx="3610227" cy="2777641"/>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37513" y="3609019"/>
            <a:ext cx="3598764" cy="2809516"/>
          </a:xfrm>
        </p:spPr>
        <p:txBody>
          <a:bodyP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517082528"/>
      </p:ext>
    </p:extLst>
  </p:cSld>
  <p:clrMapOvr>
    <a:masterClrMapping/>
  </p:clrMapOvr>
  <p:extLst>
    <p:ext uri="{DCECCB84-F9BA-43D5-87BE-67443E8EF086}">
      <p15:sldGuideLst xmlns:p15="http://schemas.microsoft.com/office/powerpoint/2012/main">
        <p15:guide id="1" orient="horz" pos="2270">
          <p15:clr>
            <a:srgbClr val="FBAE40"/>
          </p15:clr>
        </p15:guide>
        <p15:guide id="2" orient="horz" pos="2118">
          <p15:clr>
            <a:srgbClr val="FBAE40"/>
          </p15:clr>
        </p15:guide>
        <p15:guide id="3" orient="horz" pos="4043">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ier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B7E1014B-A06B-49DE-B7AC-63971F6B96D7}"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551113" y="584200"/>
            <a:ext cx="2664817" cy="5690270"/>
          </a:xfrm>
        </p:spPr>
        <p:txBody>
          <a:bodyPr anchor="ctr"/>
          <a:lstStyle>
            <a:lvl1pPr>
              <a:lnSpc>
                <a:spcPct val="108000"/>
              </a:lnSpc>
              <a:defRPr sz="1400"/>
            </a:lvl1pPr>
            <a:lvl2pPr marL="216000" indent="-216000">
              <a:lnSpc>
                <a:spcPct val="108000"/>
              </a:lnSpc>
              <a:defRPr sz="1400"/>
            </a:lvl2pPr>
            <a:lvl3pPr marL="432000" indent="-216000">
              <a:lnSpc>
                <a:spcPct val="108000"/>
              </a:lnSpc>
              <a:defRPr sz="1400"/>
            </a:lvl3pPr>
            <a:lvl4pPr marL="648000" indent="-216000">
              <a:lnSpc>
                <a:spcPct val="108000"/>
              </a:lnSpc>
              <a:defRPr sz="1400"/>
            </a:lvl4pPr>
            <a:lvl5pPr marL="864000" indent="-216000">
              <a:lnSpc>
                <a:spcPct val="108000"/>
              </a:lnSpc>
              <a:defRPr sz="1400"/>
            </a:lvl5pPr>
            <a:lvl6pPr marL="216000" indent="-216000">
              <a:lnSpc>
                <a:spcPct val="108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3283C3B8-4DFA-49C0-B021-CB0D9481CF49}"/>
              </a:ext>
            </a:extLst>
          </p:cNvPr>
          <p:cNvSpPr>
            <a:spLocks noGrp="1"/>
          </p:cNvSpPr>
          <p:nvPr>
            <p:ph type="pic" sz="quarter" idx="13"/>
          </p:nvPr>
        </p:nvSpPr>
        <p:spPr>
          <a:xfrm>
            <a:off x="42960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F2C5D61B-00D5-48F1-961D-FE331B1627C5}"/>
              </a:ext>
            </a:extLst>
          </p:cNvPr>
          <p:cNvSpPr>
            <a:spLocks noGrp="1"/>
          </p:cNvSpPr>
          <p:nvPr>
            <p:ph type="pic" sz="quarter" idx="15"/>
          </p:nvPr>
        </p:nvSpPr>
        <p:spPr>
          <a:xfrm>
            <a:off x="4301647"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0AAEB8C3-8198-4C5D-841C-E2D5F3D0E5A8}"/>
              </a:ext>
            </a:extLst>
          </p:cNvPr>
          <p:cNvSpPr>
            <a:spLocks noGrp="1"/>
          </p:cNvSpPr>
          <p:nvPr>
            <p:ph type="pic" sz="quarter" idx="16"/>
          </p:nvPr>
        </p:nvSpPr>
        <p:spPr>
          <a:xfrm>
            <a:off x="8045900" y="3501008"/>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Bildplatzhalter 4">
            <a:extLst>
              <a:ext uri="{FF2B5EF4-FFF2-40B4-BE49-F238E27FC236}">
                <a16:creationId xmlns:a16="http://schemas.microsoft.com/office/drawing/2014/main" id="{DF8E4FED-B666-455C-AF42-09BBFAF8DB49}"/>
              </a:ext>
            </a:extLst>
          </p:cNvPr>
          <p:cNvSpPr>
            <a:spLocks noGrp="1"/>
          </p:cNvSpPr>
          <p:nvPr>
            <p:ph type="pic" sz="quarter" idx="17"/>
          </p:nvPr>
        </p:nvSpPr>
        <p:spPr>
          <a:xfrm>
            <a:off x="8045900" y="584200"/>
            <a:ext cx="3600000" cy="277279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Tree>
    <p:extLst>
      <p:ext uri="{BB962C8B-B14F-4D97-AF65-F5344CB8AC3E}">
        <p14:creationId xmlns:p14="http://schemas.microsoft.com/office/powerpoint/2010/main" val="3772119593"/>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3952">
          <p15:clr>
            <a:srgbClr val="FBAE40"/>
          </p15:clr>
        </p15:guide>
        <p15:guide id="4" pos="7336">
          <p15:clr>
            <a:srgbClr val="FBAE40"/>
          </p15:clr>
        </p15:guide>
        <p15:guide id="6" pos="345">
          <p15:clr>
            <a:srgbClr val="FBAE40"/>
          </p15:clr>
        </p15:guide>
        <p15:guide id="7" pos="2702">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ünf Bilder und Text">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3538" y="4529137"/>
            <a:ext cx="2113324"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5" name="Bildplatzhalter 4">
            <a:extLst>
              <a:ext uri="{FF2B5EF4-FFF2-40B4-BE49-F238E27FC236}">
                <a16:creationId xmlns:a16="http://schemas.microsoft.com/office/drawing/2014/main" id="{440063FD-2C92-4D42-B1A2-EA82BEBB5EE7}"/>
              </a:ext>
            </a:extLst>
          </p:cNvPr>
          <p:cNvSpPr>
            <a:spLocks noGrp="1"/>
          </p:cNvSpPr>
          <p:nvPr>
            <p:ph type="pic" sz="quarter" idx="16"/>
          </p:nvPr>
        </p:nvSpPr>
        <p:spPr>
          <a:xfrm>
            <a:off x="278224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6" name="Bildplatzhalter 4">
            <a:extLst>
              <a:ext uri="{FF2B5EF4-FFF2-40B4-BE49-F238E27FC236}">
                <a16:creationId xmlns:a16="http://schemas.microsoft.com/office/drawing/2014/main" id="{6467BB9A-5244-40C4-8024-19FEDD14B501}"/>
              </a:ext>
            </a:extLst>
          </p:cNvPr>
          <p:cNvSpPr>
            <a:spLocks noGrp="1"/>
          </p:cNvSpPr>
          <p:nvPr>
            <p:ph type="pic" sz="quarter" idx="17"/>
          </p:nvPr>
        </p:nvSpPr>
        <p:spPr>
          <a:xfrm>
            <a:off x="502950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7" name="Bildplatzhalter 4">
            <a:extLst>
              <a:ext uri="{FF2B5EF4-FFF2-40B4-BE49-F238E27FC236}">
                <a16:creationId xmlns:a16="http://schemas.microsoft.com/office/drawing/2014/main" id="{1D2FDDDE-67BF-42B6-818C-95EC23E85932}"/>
              </a:ext>
            </a:extLst>
          </p:cNvPr>
          <p:cNvSpPr>
            <a:spLocks noGrp="1"/>
          </p:cNvSpPr>
          <p:nvPr>
            <p:ph type="pic" sz="quarter" idx="18"/>
          </p:nvPr>
        </p:nvSpPr>
        <p:spPr>
          <a:xfrm>
            <a:off x="7276768"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8" name="Bildplatzhalter 4">
            <a:extLst>
              <a:ext uri="{FF2B5EF4-FFF2-40B4-BE49-F238E27FC236}">
                <a16:creationId xmlns:a16="http://schemas.microsoft.com/office/drawing/2014/main" id="{D89DC0BC-155F-4CEB-8587-1204CDB07CB1}"/>
              </a:ext>
            </a:extLst>
          </p:cNvPr>
          <p:cNvSpPr>
            <a:spLocks noGrp="1"/>
          </p:cNvSpPr>
          <p:nvPr>
            <p:ph type="pic" sz="quarter" idx="19"/>
          </p:nvPr>
        </p:nvSpPr>
        <p:spPr>
          <a:xfrm>
            <a:off x="9524026" y="1508416"/>
            <a:ext cx="2121874" cy="275443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9" name="Textplatzhalter 16">
            <a:extLst>
              <a:ext uri="{FF2B5EF4-FFF2-40B4-BE49-F238E27FC236}">
                <a16:creationId xmlns:a16="http://schemas.microsoft.com/office/drawing/2014/main" id="{2B3665A0-B00A-44D2-B58A-35E8FDA6A77C}"/>
              </a:ext>
            </a:extLst>
          </p:cNvPr>
          <p:cNvSpPr>
            <a:spLocks noGrp="1"/>
          </p:cNvSpPr>
          <p:nvPr>
            <p:ph type="body" sz="quarter" idx="20"/>
          </p:nvPr>
        </p:nvSpPr>
        <p:spPr>
          <a:xfrm>
            <a:off x="27797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0" name="Textplatzhalter 16">
            <a:extLst>
              <a:ext uri="{FF2B5EF4-FFF2-40B4-BE49-F238E27FC236}">
                <a16:creationId xmlns:a16="http://schemas.microsoft.com/office/drawing/2014/main" id="{9B616786-626B-4E22-AD14-A92B5C964E54}"/>
              </a:ext>
            </a:extLst>
          </p:cNvPr>
          <p:cNvSpPr>
            <a:spLocks noGrp="1"/>
          </p:cNvSpPr>
          <p:nvPr>
            <p:ph type="body" sz="quarter" idx="21"/>
          </p:nvPr>
        </p:nvSpPr>
        <p:spPr>
          <a:xfrm>
            <a:off x="50276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1" name="Textplatzhalter 16">
            <a:extLst>
              <a:ext uri="{FF2B5EF4-FFF2-40B4-BE49-F238E27FC236}">
                <a16:creationId xmlns:a16="http://schemas.microsoft.com/office/drawing/2014/main" id="{E6FCF680-3050-4529-9BB2-215BDF42F400}"/>
              </a:ext>
            </a:extLst>
          </p:cNvPr>
          <p:cNvSpPr>
            <a:spLocks noGrp="1"/>
          </p:cNvSpPr>
          <p:nvPr>
            <p:ph type="body" sz="quarter" idx="22"/>
          </p:nvPr>
        </p:nvSpPr>
        <p:spPr>
          <a:xfrm>
            <a:off x="7267575" y="4529137"/>
            <a:ext cx="2124000"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32" name="Textplatzhalter 16">
            <a:extLst>
              <a:ext uri="{FF2B5EF4-FFF2-40B4-BE49-F238E27FC236}">
                <a16:creationId xmlns:a16="http://schemas.microsoft.com/office/drawing/2014/main" id="{9859DCA0-03B4-4F8B-96CD-25DDD7AF6B03}"/>
              </a:ext>
            </a:extLst>
          </p:cNvPr>
          <p:cNvSpPr>
            <a:spLocks noGrp="1"/>
          </p:cNvSpPr>
          <p:nvPr>
            <p:ph type="body" sz="quarter" idx="23"/>
          </p:nvPr>
        </p:nvSpPr>
        <p:spPr>
          <a:xfrm>
            <a:off x="9523413" y="4529137"/>
            <a:ext cx="2125049" cy="1889125"/>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28CF96AA-B7FF-42B7-B3D1-757EFB0BC093}"/>
              </a:ext>
            </a:extLst>
          </p:cNvPr>
          <p:cNvSpPr>
            <a:spLocks noGrp="1"/>
          </p:cNvSpPr>
          <p:nvPr>
            <p:ph type="title" hasCustomPrompt="1"/>
          </p:nvPr>
        </p:nvSpPr>
        <p:spPr>
          <a:xfrm>
            <a:off x="1487488" y="493295"/>
            <a:ext cx="9218228" cy="848226"/>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3710073103"/>
      </p:ext>
    </p:extLst>
  </p:cSld>
  <p:clrMapOvr>
    <a:masterClrMapping/>
  </p:clrMapOvr>
  <p:extLst>
    <p:ext uri="{DCECCB84-F9BA-43D5-87BE-67443E8EF086}">
      <p15:sldGuideLst xmlns:p15="http://schemas.microsoft.com/office/powerpoint/2012/main">
        <p15:guide id="1" orient="horz" pos="2691">
          <p15:clr>
            <a:srgbClr val="FBAE40"/>
          </p15:clr>
        </p15:guide>
        <p15:guide id="3" orient="horz" pos="4043">
          <p15:clr>
            <a:srgbClr val="FBAE40"/>
          </p15:clr>
        </p15:guide>
        <p15:guide id="4" orient="horz" pos="944">
          <p15:clr>
            <a:srgbClr val="FBAE40"/>
          </p15:clr>
        </p15:guide>
        <p15:guide id="5" pos="1679">
          <p15:clr>
            <a:srgbClr val="FBAE40"/>
          </p15:clr>
        </p15:guide>
        <p15:guide id="6" pos="337">
          <p15:clr>
            <a:srgbClr val="FBAE40"/>
          </p15:clr>
        </p15:guide>
        <p15:guide id="7" pos="1751">
          <p15:clr>
            <a:srgbClr val="FBAE40"/>
          </p15:clr>
        </p15:guide>
        <p15:guide id="8" pos="7336">
          <p15:clr>
            <a:srgbClr val="FBAE40"/>
          </p15:clr>
        </p15:guide>
        <p15:guide id="9" pos="4578">
          <p15:clr>
            <a:srgbClr val="FBAE40"/>
          </p15:clr>
        </p15:guide>
        <p15:guide id="10" pos="4509">
          <p15:clr>
            <a:srgbClr val="FBAE40"/>
          </p15:clr>
        </p15:guide>
        <p15:guide id="11" orient="horz" pos="2850">
          <p15:clr>
            <a:srgbClr val="FBAE40"/>
          </p15:clr>
        </p15:guide>
        <p15:guide id="12" pos="3092">
          <p15:clr>
            <a:srgbClr val="FBAE40"/>
          </p15:clr>
        </p15:guide>
        <p15:guide id="13" pos="3164">
          <p15:clr>
            <a:srgbClr val="FBAE40"/>
          </p15:clr>
        </p15:guide>
        <p15:guide id="14" pos="5927">
          <p15:clr>
            <a:srgbClr val="FBAE40"/>
          </p15:clr>
        </p15:guide>
        <p15:guide id="15" pos="5999">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hs Bilder und Text">
    <p:spTree>
      <p:nvGrpSpPr>
        <p:cNvPr id="1" name=""/>
        <p:cNvGrpSpPr/>
        <p:nvPr/>
      </p:nvGrpSpPr>
      <p:grpSpPr>
        <a:xfrm>
          <a:off x="0" y="0"/>
          <a:ext cx="0" cy="0"/>
          <a:chOff x="0" y="0"/>
          <a:chExt cx="0" cy="0"/>
        </a:xfrm>
      </p:grpSpPr>
      <p:sp>
        <p:nvSpPr>
          <p:cNvPr id="16" name="Bildplatzhalter 4">
            <a:extLst>
              <a:ext uri="{FF2B5EF4-FFF2-40B4-BE49-F238E27FC236}">
                <a16:creationId xmlns:a16="http://schemas.microsoft.com/office/drawing/2014/main" id="{64409250-64E5-4189-B25D-03288E9150DF}"/>
              </a:ext>
            </a:extLst>
          </p:cNvPr>
          <p:cNvSpPr>
            <a:spLocks noGrp="1"/>
          </p:cNvSpPr>
          <p:nvPr>
            <p:ph type="pic" sz="quarter" idx="19"/>
          </p:nvPr>
        </p:nvSpPr>
        <p:spPr>
          <a:xfrm>
            <a:off x="534988" y="3825044"/>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81DFFCF-7498-4E8B-8420-E887B9B2DC4B}"/>
              </a:ext>
            </a:extLst>
          </p:cNvPr>
          <p:cNvSpPr>
            <a:spLocks noGrp="1"/>
          </p:cNvSpPr>
          <p:nvPr>
            <p:ph type="pic" sz="quarter" idx="20"/>
          </p:nvPr>
        </p:nvSpPr>
        <p:spPr>
          <a:xfrm>
            <a:off x="4294285"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548E3796-0490-4E76-93A8-994EE7C8C932}"/>
              </a:ext>
            </a:extLst>
          </p:cNvPr>
          <p:cNvSpPr>
            <a:spLocks noGrp="1"/>
          </p:cNvSpPr>
          <p:nvPr>
            <p:ph type="pic" sz="quarter" idx="21"/>
          </p:nvPr>
        </p:nvSpPr>
        <p:spPr>
          <a:xfrm>
            <a:off x="8041136" y="3825044"/>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8" name="Datumsplatzhalter 7"/>
          <p:cNvSpPr>
            <a:spLocks noGrp="1"/>
          </p:cNvSpPr>
          <p:nvPr>
            <p:ph type="dt" sz="half" idx="10"/>
          </p:nvPr>
        </p:nvSpPr>
        <p:spPr/>
        <p:txBody>
          <a:bodyPr/>
          <a:lstStyle/>
          <a:p>
            <a:fld id="{0C493B9F-BAD5-4F72-AE55-087E4577E493}" type="datetimeyyyy">
              <a:rPr lang="de-CH" smtClean="0"/>
              <a:t>2025</a:t>
            </a:fld>
            <a:endParaRPr lang="de-CH"/>
          </a:p>
        </p:txBody>
      </p:sp>
      <p:sp>
        <p:nvSpPr>
          <p:cNvPr id="9" name="Fußzeilenplatzhalter 8"/>
          <p:cNvSpPr>
            <a:spLocks noGrp="1"/>
          </p:cNvSpPr>
          <p:nvPr>
            <p:ph type="ftr" sz="quarter" idx="11"/>
          </p:nvPr>
        </p:nvSpPr>
        <p:spPr/>
        <p:txBody>
          <a:bodyPr/>
          <a:lstStyle/>
          <a:p>
            <a:r>
              <a:rPr lang="de-DE"/>
              <a:t>SBB Division Abteilung und Bereich</a:t>
            </a:r>
            <a:endParaRPr lang="de-CH"/>
          </a:p>
        </p:txBody>
      </p:sp>
      <p:sp>
        <p:nvSpPr>
          <p:cNvPr id="10" name="Foliennummernplatzhalter 9"/>
          <p:cNvSpPr>
            <a:spLocks noGrp="1"/>
          </p:cNvSpPr>
          <p:nvPr>
            <p:ph type="sldNum" sz="quarter" idx="12"/>
          </p:nvPr>
        </p:nvSpPr>
        <p:spPr/>
        <p:txBody>
          <a:bodyPr/>
          <a:lstStyle/>
          <a:p>
            <a:fld id="{442AD375-037F-43D0-B059-5172DA06796A}" type="slidenum">
              <a:rPr lang="de-CH" smtClean="0"/>
              <a:pPr/>
              <a:t>‹Nr.›</a:t>
            </a:fld>
            <a:endParaRPr lang="de-CH"/>
          </a:p>
        </p:txBody>
      </p:sp>
      <p:sp>
        <p:nvSpPr>
          <p:cNvPr id="17" name="Textplatzhalter 16">
            <a:extLst>
              <a:ext uri="{FF2B5EF4-FFF2-40B4-BE49-F238E27FC236}">
                <a16:creationId xmlns:a16="http://schemas.microsoft.com/office/drawing/2014/main" id="{CDF117C9-D89B-4905-A5A0-2D0F1A7C1F33}"/>
              </a:ext>
            </a:extLst>
          </p:cNvPr>
          <p:cNvSpPr>
            <a:spLocks noGrp="1"/>
          </p:cNvSpPr>
          <p:nvPr>
            <p:ph type="body" sz="quarter" idx="13"/>
          </p:nvPr>
        </p:nvSpPr>
        <p:spPr>
          <a:xfrm>
            <a:off x="547436" y="2785313"/>
            <a:ext cx="3599999"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8" name="Textplatzhalter 16">
            <a:extLst>
              <a:ext uri="{FF2B5EF4-FFF2-40B4-BE49-F238E27FC236}">
                <a16:creationId xmlns:a16="http://schemas.microsoft.com/office/drawing/2014/main" id="{DF0BC6F3-C6AA-46AD-8EA1-BAFE30CC9162}"/>
              </a:ext>
            </a:extLst>
          </p:cNvPr>
          <p:cNvSpPr>
            <a:spLocks noGrp="1"/>
          </p:cNvSpPr>
          <p:nvPr>
            <p:ph type="body" sz="quarter" idx="14"/>
          </p:nvPr>
        </p:nvSpPr>
        <p:spPr>
          <a:xfrm>
            <a:off x="4294287" y="2785312"/>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11" name="Bildplatzhalter 4">
            <a:extLst>
              <a:ext uri="{FF2B5EF4-FFF2-40B4-BE49-F238E27FC236}">
                <a16:creationId xmlns:a16="http://schemas.microsoft.com/office/drawing/2014/main" id="{63229696-ACA4-4F51-9703-BF484C61555C}"/>
              </a:ext>
            </a:extLst>
          </p:cNvPr>
          <p:cNvSpPr>
            <a:spLocks noGrp="1"/>
          </p:cNvSpPr>
          <p:nvPr>
            <p:ph type="pic" sz="quarter" idx="15"/>
          </p:nvPr>
        </p:nvSpPr>
        <p:spPr>
          <a:xfrm>
            <a:off x="534988" y="1046747"/>
            <a:ext cx="3622675"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61C0B818-2BEB-4073-9963-0504D1649E0B}"/>
              </a:ext>
            </a:extLst>
          </p:cNvPr>
          <p:cNvSpPr>
            <a:spLocks noGrp="1"/>
          </p:cNvSpPr>
          <p:nvPr>
            <p:ph type="pic" sz="quarter" idx="16"/>
          </p:nvPr>
        </p:nvSpPr>
        <p:spPr>
          <a:xfrm>
            <a:off x="4294285"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96D75994-F54D-48BC-B545-9E31EFD92BE4}"/>
              </a:ext>
            </a:extLst>
          </p:cNvPr>
          <p:cNvSpPr>
            <a:spLocks noGrp="1"/>
          </p:cNvSpPr>
          <p:nvPr>
            <p:ph type="pic" sz="quarter" idx="17"/>
          </p:nvPr>
        </p:nvSpPr>
        <p:spPr>
          <a:xfrm>
            <a:off x="8041136" y="1046747"/>
            <a:ext cx="3610227" cy="1618248"/>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16">
            <a:extLst>
              <a:ext uri="{FF2B5EF4-FFF2-40B4-BE49-F238E27FC236}">
                <a16:creationId xmlns:a16="http://schemas.microsoft.com/office/drawing/2014/main" id="{09448057-5B77-4F6C-8ED5-F7160EEBC59B}"/>
              </a:ext>
            </a:extLst>
          </p:cNvPr>
          <p:cNvSpPr>
            <a:spLocks noGrp="1"/>
          </p:cNvSpPr>
          <p:nvPr>
            <p:ph type="body" sz="quarter" idx="18"/>
          </p:nvPr>
        </p:nvSpPr>
        <p:spPr>
          <a:xfrm>
            <a:off x="8046147" y="2785312"/>
            <a:ext cx="3590130"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1" name="Textplatzhalter 16">
            <a:extLst>
              <a:ext uri="{FF2B5EF4-FFF2-40B4-BE49-F238E27FC236}">
                <a16:creationId xmlns:a16="http://schemas.microsoft.com/office/drawing/2014/main" id="{B4019FE9-92BF-4440-9E7E-DDE2AA26A4EC}"/>
              </a:ext>
            </a:extLst>
          </p:cNvPr>
          <p:cNvSpPr>
            <a:spLocks noGrp="1"/>
          </p:cNvSpPr>
          <p:nvPr>
            <p:ph type="body" sz="quarter" idx="22"/>
          </p:nvPr>
        </p:nvSpPr>
        <p:spPr>
          <a:xfrm>
            <a:off x="543889" y="5569938"/>
            <a:ext cx="3613774" cy="763930"/>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2" name="Textplatzhalter 16">
            <a:extLst>
              <a:ext uri="{FF2B5EF4-FFF2-40B4-BE49-F238E27FC236}">
                <a16:creationId xmlns:a16="http://schemas.microsoft.com/office/drawing/2014/main" id="{17138E11-D365-4974-9084-9F22E0611EF6}"/>
              </a:ext>
            </a:extLst>
          </p:cNvPr>
          <p:cNvSpPr>
            <a:spLocks noGrp="1"/>
          </p:cNvSpPr>
          <p:nvPr>
            <p:ph type="body" sz="quarter" idx="23"/>
          </p:nvPr>
        </p:nvSpPr>
        <p:spPr>
          <a:xfrm>
            <a:off x="4302921"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3" name="Textplatzhalter 16">
            <a:extLst>
              <a:ext uri="{FF2B5EF4-FFF2-40B4-BE49-F238E27FC236}">
                <a16:creationId xmlns:a16="http://schemas.microsoft.com/office/drawing/2014/main" id="{2253C73E-CBF1-4BFB-93EB-D4594C8DF4EC}"/>
              </a:ext>
            </a:extLst>
          </p:cNvPr>
          <p:cNvSpPr>
            <a:spLocks noGrp="1"/>
          </p:cNvSpPr>
          <p:nvPr>
            <p:ph type="body" sz="quarter" idx="24"/>
          </p:nvPr>
        </p:nvSpPr>
        <p:spPr>
          <a:xfrm>
            <a:off x="8046147" y="5569938"/>
            <a:ext cx="3598764" cy="764004"/>
          </a:xfrm>
        </p:spPr>
        <p:txBody>
          <a:bodyPr/>
          <a:lstStyle>
            <a:lvl1pPr>
              <a:lnSpc>
                <a:spcPct val="117000"/>
              </a:lnSpc>
              <a:defRPr sz="1400"/>
            </a:lvl1pPr>
            <a:lvl2pPr marL="216000" indent="-216000">
              <a:lnSpc>
                <a:spcPct val="117000"/>
              </a:lnSpc>
              <a:defRPr sz="1400"/>
            </a:lvl2pPr>
            <a:lvl3pPr marL="432000" indent="-216000">
              <a:lnSpc>
                <a:spcPct val="117000"/>
              </a:lnSpc>
              <a:defRPr sz="1400"/>
            </a:lvl3pPr>
            <a:lvl4pPr marL="648000" indent="-216000">
              <a:lnSpc>
                <a:spcPct val="117000"/>
              </a:lnSpc>
              <a:defRPr sz="1400"/>
            </a:lvl4pPr>
            <a:lvl5pPr marL="864000" indent="-216000">
              <a:lnSpc>
                <a:spcPct val="117000"/>
              </a:lnSpc>
              <a:defRPr sz="1400"/>
            </a:lvl5pPr>
            <a:lvl6pPr marL="216000" indent="-216000">
              <a:lnSpc>
                <a:spcPct val="117000"/>
              </a:lnSpc>
              <a:defRPr sz="1400"/>
            </a:lvl6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2" name="Titel 1">
            <a:extLst>
              <a:ext uri="{FF2B5EF4-FFF2-40B4-BE49-F238E27FC236}">
                <a16:creationId xmlns:a16="http://schemas.microsoft.com/office/drawing/2014/main" id="{B52248A4-8352-478D-BDF5-FA3D2AE39213}"/>
              </a:ext>
            </a:extLst>
          </p:cNvPr>
          <p:cNvSpPr>
            <a:spLocks noGrp="1"/>
          </p:cNvSpPr>
          <p:nvPr>
            <p:ph type="title" hasCustomPrompt="1"/>
          </p:nvPr>
        </p:nvSpPr>
        <p:spPr>
          <a:xfrm>
            <a:off x="1487488" y="493295"/>
            <a:ext cx="9218228" cy="487433"/>
          </a:xfrm>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593037695"/>
      </p:ext>
    </p:extLst>
  </p:cSld>
  <p:clrMapOvr>
    <a:masterClrMapping/>
  </p:clrMapOvr>
  <p:extLst>
    <p:ext uri="{DCECCB84-F9BA-43D5-87BE-67443E8EF086}">
      <p15:sldGuideLst xmlns:p15="http://schemas.microsoft.com/office/powerpoint/2012/main">
        <p15:guide id="1" orient="horz" pos="2403">
          <p15:clr>
            <a:srgbClr val="FBAE40"/>
          </p15:clr>
        </p15:guide>
        <p15:guide id="2" orient="horz" pos="1686">
          <p15:clr>
            <a:srgbClr val="FBAE40"/>
          </p15:clr>
        </p15:guide>
        <p15:guide id="3" orient="horz" pos="4040">
          <p15:clr>
            <a:srgbClr val="FBAE40"/>
          </p15:clr>
        </p15:guide>
        <p15:guide id="4" orient="horz" pos="368">
          <p15:clr>
            <a:srgbClr val="FBAE40"/>
          </p15:clr>
        </p15:guide>
        <p15:guide id="5" pos="2619">
          <p15:clr>
            <a:srgbClr val="FBAE40"/>
          </p15:clr>
        </p15:guide>
        <p15:guide id="6" pos="337">
          <p15:clr>
            <a:srgbClr val="FBAE40"/>
          </p15:clr>
        </p15:guide>
        <p15:guide id="7" pos="2702">
          <p15:clr>
            <a:srgbClr val="FBAE40"/>
          </p15:clr>
        </p15:guide>
        <p15:guide id="8" pos="7336">
          <p15:clr>
            <a:srgbClr val="FBAE40"/>
          </p15:clr>
        </p15:guide>
        <p15:guide id="9" pos="5063">
          <p15:clr>
            <a:srgbClr val="FBAE40"/>
          </p15:clr>
        </p15:guide>
        <p15:guide id="10" pos="4979">
          <p15:clr>
            <a:srgbClr val="FBAE40"/>
          </p15:clr>
        </p15:guide>
        <p15:guide id="11" orient="horz" pos="3429">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4301290" y="1858879"/>
            <a:ext cx="6406398" cy="3406325"/>
          </a:xfrm>
          <a:prstGeom prst="rect">
            <a:avLst/>
          </a:prstGeom>
        </p:spPr>
        <p:txBody>
          <a:bodyPr vert="horz" lIns="0" tIns="0" rIns="0" bIns="0" rtlCol="0">
            <a:noAutofit/>
          </a:bodyPr>
          <a:lstStyle>
            <a:lvl1pPr>
              <a:lnSpc>
                <a:spcPct val="108000"/>
              </a:lnSpc>
              <a:defRPr sz="2100" spc="40" baseline="0"/>
            </a:lvl1pPr>
            <a:lvl2pPr>
              <a:lnSpc>
                <a:spcPct val="108000"/>
              </a:lnSpc>
              <a:defRPr sz="2100" spc="40" baseline="0"/>
            </a:lvl2pPr>
            <a:lvl3pPr>
              <a:lnSpc>
                <a:spcPct val="108000"/>
              </a:lnSpc>
              <a:defRPr sz="2100" spc="40" baseline="0"/>
            </a:lvl3pPr>
            <a:lvl4pPr>
              <a:lnSpc>
                <a:spcPct val="108000"/>
              </a:lnSpc>
              <a:defRPr sz="2100" spc="40" baseline="0"/>
            </a:lvl4pPr>
            <a:lvl5pPr>
              <a:lnSpc>
                <a:spcPct val="108000"/>
              </a:lnSpc>
              <a:defRPr sz="2100" spc="40" baseline="0"/>
            </a:lvl5pPr>
            <a:lvl6pPr>
              <a:lnSpc>
                <a:spcPct val="108000"/>
              </a:lnSpc>
              <a:defRPr sz="2100" spc="40" baseline="0"/>
            </a:lvl6p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4312" y="1907005"/>
            <a:ext cx="2269541" cy="2983832"/>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6" name="Textplatzhalter 5">
            <a:extLst>
              <a:ext uri="{FF2B5EF4-FFF2-40B4-BE49-F238E27FC236}">
                <a16:creationId xmlns:a16="http://schemas.microsoft.com/office/drawing/2014/main" id="{B03346D9-FB45-4867-A396-ED89DA22280F}"/>
              </a:ext>
            </a:extLst>
          </p:cNvPr>
          <p:cNvSpPr>
            <a:spLocks noGrp="1"/>
          </p:cNvSpPr>
          <p:nvPr>
            <p:ph type="body" sz="quarter" idx="16"/>
          </p:nvPr>
        </p:nvSpPr>
        <p:spPr>
          <a:xfrm>
            <a:off x="4295775" y="5588668"/>
            <a:ext cx="6411913" cy="829595"/>
          </a:xfrm>
        </p:spPr>
        <p:txBody>
          <a:bodyPr/>
          <a:lstStyle>
            <a:lvl1pPr>
              <a:lnSpc>
                <a:spcPct val="114000"/>
              </a:lnSpc>
              <a:defRPr sz="1400" spc="40" baseline="0"/>
            </a:lvl1pPr>
            <a:lvl2pPr>
              <a:defRPr sz="1400"/>
            </a:lvl2pPr>
            <a:lvl3pPr>
              <a:defRPr sz="1400"/>
            </a:lvl3pPr>
            <a:lvl4pPr>
              <a:defRPr sz="1400"/>
            </a:lvl4pPr>
            <a:lvl5pPr>
              <a:defRPr sz="1400"/>
            </a:lvl5pPr>
          </a:lstStyle>
          <a:p>
            <a:pPr lvl="0"/>
            <a:r>
              <a:rPr lang="de-DE"/>
              <a:t>Mastertextformat bearbeiten</a:t>
            </a:r>
          </a:p>
        </p:txBody>
      </p:sp>
      <p:sp>
        <p:nvSpPr>
          <p:cNvPr id="3" name="Titel 2">
            <a:extLst>
              <a:ext uri="{FF2B5EF4-FFF2-40B4-BE49-F238E27FC236}">
                <a16:creationId xmlns:a16="http://schemas.microsoft.com/office/drawing/2014/main" id="{1CCC01BC-AAA0-4D9D-9FD8-BCEC08761D5B}"/>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666479330"/>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1410">
          <p15:clr>
            <a:srgbClr val="FBAE40"/>
          </p15:clr>
        </p15:guide>
        <p15:guide id="5" pos="733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am mit vier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484312"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1485499"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2" name="Bildplatzhalter 4">
            <a:extLst>
              <a:ext uri="{FF2B5EF4-FFF2-40B4-BE49-F238E27FC236}">
                <a16:creationId xmlns:a16="http://schemas.microsoft.com/office/drawing/2014/main" id="{097DDD21-AF8E-4D8F-9E81-C3512B79BD5E}"/>
              </a:ext>
            </a:extLst>
          </p:cNvPr>
          <p:cNvSpPr>
            <a:spLocks noGrp="1"/>
          </p:cNvSpPr>
          <p:nvPr>
            <p:ph type="pic" sz="quarter" idx="16"/>
          </p:nvPr>
        </p:nvSpPr>
        <p:spPr>
          <a:xfrm>
            <a:off x="3897383" y="2083600"/>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3" name="Bildplatzhalter 4">
            <a:extLst>
              <a:ext uri="{FF2B5EF4-FFF2-40B4-BE49-F238E27FC236}">
                <a16:creationId xmlns:a16="http://schemas.microsoft.com/office/drawing/2014/main" id="{4C3FDE3D-7494-4C3B-B2CF-5F8A5F90B0CC}"/>
              </a:ext>
            </a:extLst>
          </p:cNvPr>
          <p:cNvSpPr>
            <a:spLocks noGrp="1"/>
          </p:cNvSpPr>
          <p:nvPr>
            <p:ph type="pic" sz="quarter" idx="17"/>
          </p:nvPr>
        </p:nvSpPr>
        <p:spPr>
          <a:xfrm>
            <a:off x="6312408"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4" name="Bildplatzhalter 4">
            <a:extLst>
              <a:ext uri="{FF2B5EF4-FFF2-40B4-BE49-F238E27FC236}">
                <a16:creationId xmlns:a16="http://schemas.microsoft.com/office/drawing/2014/main" id="{2526A8A2-5ADB-4A9E-8F16-47028E654A1F}"/>
              </a:ext>
            </a:extLst>
          </p:cNvPr>
          <p:cNvSpPr>
            <a:spLocks noGrp="1"/>
          </p:cNvSpPr>
          <p:nvPr>
            <p:ph type="pic" sz="quarter" idx="18"/>
          </p:nvPr>
        </p:nvSpPr>
        <p:spPr>
          <a:xfrm>
            <a:off x="8724292" y="2091071"/>
            <a:ext cx="1332000" cy="1656000"/>
          </a:xfrm>
          <a:pattFill prst="lgCheck">
            <a:fgClr>
              <a:schemeClr val="bg1">
                <a:lumMod val="85000"/>
              </a:schemeClr>
            </a:fgClr>
            <a:bgClr>
              <a:schemeClr val="bg1"/>
            </a:bgClr>
          </a:pattFill>
        </p:spPr>
        <p:txBody>
          <a:bodyPr tIns="720000" anchor="ctr"/>
          <a:lstStyle>
            <a:lvl1pPr algn="ctr">
              <a:defRPr sz="1200"/>
            </a:lvl1pPr>
          </a:lstStyle>
          <a:p>
            <a:r>
              <a:rPr lang="de-DE"/>
              <a:t>Bild durch Klicken auf Symbol hinzufügen</a:t>
            </a:r>
            <a:endParaRPr lang="de-CH"/>
          </a:p>
        </p:txBody>
      </p:sp>
      <p:sp>
        <p:nvSpPr>
          <p:cNvPr id="15" name="Textplatzhalter 2">
            <a:extLst>
              <a:ext uri="{FF2B5EF4-FFF2-40B4-BE49-F238E27FC236}">
                <a16:creationId xmlns:a16="http://schemas.microsoft.com/office/drawing/2014/main" id="{BBF8312E-E5E2-408E-B0EE-62723B4297D3}"/>
              </a:ext>
            </a:extLst>
          </p:cNvPr>
          <p:cNvSpPr>
            <a:spLocks noGrp="1"/>
          </p:cNvSpPr>
          <p:nvPr>
            <p:ph idx="19" hasCustomPrompt="1"/>
          </p:nvPr>
        </p:nvSpPr>
        <p:spPr>
          <a:xfrm>
            <a:off x="3898415"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6" name="Textplatzhalter 2">
            <a:extLst>
              <a:ext uri="{FF2B5EF4-FFF2-40B4-BE49-F238E27FC236}">
                <a16:creationId xmlns:a16="http://schemas.microsoft.com/office/drawing/2014/main" id="{0113B521-BFE2-4399-805F-6476DD239713}"/>
              </a:ext>
            </a:extLst>
          </p:cNvPr>
          <p:cNvSpPr>
            <a:spLocks noGrp="1"/>
          </p:cNvSpPr>
          <p:nvPr>
            <p:ph idx="20" hasCustomPrompt="1"/>
          </p:nvPr>
        </p:nvSpPr>
        <p:spPr>
          <a:xfrm>
            <a:off x="6312518"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7" name="Textplatzhalter 2">
            <a:extLst>
              <a:ext uri="{FF2B5EF4-FFF2-40B4-BE49-F238E27FC236}">
                <a16:creationId xmlns:a16="http://schemas.microsoft.com/office/drawing/2014/main" id="{BB561AA0-787D-4C94-993A-80329A9FF89C}"/>
              </a:ext>
            </a:extLst>
          </p:cNvPr>
          <p:cNvSpPr>
            <a:spLocks noGrp="1"/>
          </p:cNvSpPr>
          <p:nvPr>
            <p:ph idx="21" hasCustomPrompt="1"/>
          </p:nvPr>
        </p:nvSpPr>
        <p:spPr>
          <a:xfrm>
            <a:off x="8726621" y="3896140"/>
            <a:ext cx="1981067" cy="2522124"/>
          </a:xfrm>
          <a:prstGeom prst="rect">
            <a:avLst/>
          </a:prstGeom>
        </p:spPr>
        <p:txBody>
          <a:bodyPr vert="horz" lIns="0" tIns="0" rIns="0" bIns="0" rtlCol="0">
            <a:noAutofit/>
          </a:bodyPr>
          <a:lstStyle>
            <a:lvl1pPr>
              <a:lnSpc>
                <a:spcPct val="130000"/>
              </a:lnSpc>
              <a:defRPr sz="14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055E2250-93A9-4406-98F8-B4CDC1BC4EC3}"/>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2898640752"/>
      </p:ext>
    </p:extLst>
  </p:cSld>
  <p:clrMapOvr>
    <a:masterClrMapping/>
  </p:clrMapOvr>
  <p:extLst>
    <p:ext uri="{DCECCB84-F9BA-43D5-87BE-67443E8EF086}">
      <p15:sldGuideLst xmlns:p15="http://schemas.microsoft.com/office/powerpoint/2012/main">
        <p15:guide id="1" pos="932">
          <p15:clr>
            <a:srgbClr val="FBAE40"/>
          </p15:clr>
        </p15:guide>
        <p15:guide id="2" pos="6745">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am mit acht Mitgliedern">
    <p:spTree>
      <p:nvGrpSpPr>
        <p:cNvPr id="1" name=""/>
        <p:cNvGrpSpPr/>
        <p:nvPr/>
      </p:nvGrpSpPr>
      <p:grpSpPr>
        <a:xfrm>
          <a:off x="0" y="0"/>
          <a:ext cx="0" cy="0"/>
          <a:chOff x="0" y="0"/>
          <a:chExt cx="0" cy="0"/>
        </a:xfrm>
      </p:grpSpPr>
      <p:sp>
        <p:nvSpPr>
          <p:cNvPr id="7" name="Datumsplatzhalter 6"/>
          <p:cNvSpPr>
            <a:spLocks noGrp="1"/>
          </p:cNvSpPr>
          <p:nvPr>
            <p:ph type="dt" sz="half" idx="10"/>
          </p:nvPr>
        </p:nvSpPr>
        <p:spPr/>
        <p:txBody>
          <a:bodyPr/>
          <a:lstStyle/>
          <a:p>
            <a:fld id="{9A194875-4DA7-4B89-B587-B27F5F6125B9}" type="datetimeyyyy">
              <a:rPr lang="de-CH" smtClean="0"/>
              <a:t>2025</a:t>
            </a:fld>
            <a:endParaRPr lang="de-CH"/>
          </a:p>
        </p:txBody>
      </p:sp>
      <p:sp>
        <p:nvSpPr>
          <p:cNvPr id="8" name="Fußzeilenplatzhalter 7"/>
          <p:cNvSpPr>
            <a:spLocks noGrp="1"/>
          </p:cNvSpPr>
          <p:nvPr>
            <p:ph type="ftr" sz="quarter" idx="11"/>
          </p:nvPr>
        </p:nvSpPr>
        <p:spPr/>
        <p:txBody>
          <a:bodyPr/>
          <a:lstStyle/>
          <a:p>
            <a:r>
              <a:rPr lang="de-DE"/>
              <a:t>SBB Division Abteilung und Bereich</a:t>
            </a:r>
            <a:endParaRPr lang="de-CH"/>
          </a:p>
        </p:txBody>
      </p:sp>
      <p:sp>
        <p:nvSpPr>
          <p:cNvPr id="9" name="Foliennummernplatzhalter 8"/>
          <p:cNvSpPr>
            <a:spLocks noGrp="1"/>
          </p:cNvSpPr>
          <p:nvPr>
            <p:ph type="sldNum" sz="quarter" idx="12"/>
          </p:nvPr>
        </p:nvSpPr>
        <p:spPr/>
        <p:txBody>
          <a:bodyPr/>
          <a:lstStyle/>
          <a:p>
            <a:fld id="{442AD375-037F-43D0-B059-5172DA06796A}" type="slidenum">
              <a:rPr lang="de-CH" smtClean="0"/>
              <a:pPr/>
              <a:t>‹Nr.›</a:t>
            </a:fld>
            <a:endParaRPr lang="de-CH"/>
          </a:p>
        </p:txBody>
      </p:sp>
      <p:sp>
        <p:nvSpPr>
          <p:cNvPr id="10" name="Textplatzhalter 2">
            <a:extLst>
              <a:ext uri="{FF2B5EF4-FFF2-40B4-BE49-F238E27FC236}">
                <a16:creationId xmlns:a16="http://schemas.microsoft.com/office/drawing/2014/main" id="{5578AA81-C437-4627-B968-9592A9319D11}"/>
              </a:ext>
            </a:extLst>
          </p:cNvPr>
          <p:cNvSpPr>
            <a:spLocks noGrp="1"/>
          </p:cNvSpPr>
          <p:nvPr>
            <p:ph idx="1" hasCustomPrompt="1"/>
          </p:nvPr>
        </p:nvSpPr>
        <p:spPr>
          <a:xfrm>
            <a:off x="1631503"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11" name="Bildplatzhalter 4">
            <a:extLst>
              <a:ext uri="{FF2B5EF4-FFF2-40B4-BE49-F238E27FC236}">
                <a16:creationId xmlns:a16="http://schemas.microsoft.com/office/drawing/2014/main" id="{0C630BFD-331A-403A-85C7-C5A4F6E1DB9B}"/>
              </a:ext>
            </a:extLst>
          </p:cNvPr>
          <p:cNvSpPr>
            <a:spLocks noGrp="1"/>
          </p:cNvSpPr>
          <p:nvPr>
            <p:ph type="pic" sz="quarter" idx="15"/>
          </p:nvPr>
        </p:nvSpPr>
        <p:spPr>
          <a:xfrm>
            <a:off x="56155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8" name="Bildplatzhalter 4">
            <a:extLst>
              <a:ext uri="{FF2B5EF4-FFF2-40B4-BE49-F238E27FC236}">
                <a16:creationId xmlns:a16="http://schemas.microsoft.com/office/drawing/2014/main" id="{6FE4A297-A689-4F17-B110-A8313B7828E1}"/>
              </a:ext>
            </a:extLst>
          </p:cNvPr>
          <p:cNvSpPr>
            <a:spLocks noGrp="1"/>
          </p:cNvSpPr>
          <p:nvPr>
            <p:ph type="pic" sz="quarter" idx="16"/>
          </p:nvPr>
        </p:nvSpPr>
        <p:spPr>
          <a:xfrm>
            <a:off x="6171396"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19" name="Bildplatzhalter 4">
            <a:extLst>
              <a:ext uri="{FF2B5EF4-FFF2-40B4-BE49-F238E27FC236}">
                <a16:creationId xmlns:a16="http://schemas.microsoft.com/office/drawing/2014/main" id="{63DF1A88-47CB-427A-A6AD-78D69857AB83}"/>
              </a:ext>
            </a:extLst>
          </p:cNvPr>
          <p:cNvSpPr>
            <a:spLocks noGrp="1"/>
          </p:cNvSpPr>
          <p:nvPr>
            <p:ph type="pic" sz="quarter" idx="17"/>
          </p:nvPr>
        </p:nvSpPr>
        <p:spPr>
          <a:xfrm>
            <a:off x="3366473"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0" name="Bildplatzhalter 4">
            <a:extLst>
              <a:ext uri="{FF2B5EF4-FFF2-40B4-BE49-F238E27FC236}">
                <a16:creationId xmlns:a16="http://schemas.microsoft.com/office/drawing/2014/main" id="{369F8622-2F51-4D3C-9804-C2FFE83A5E11}"/>
              </a:ext>
            </a:extLst>
          </p:cNvPr>
          <p:cNvSpPr>
            <a:spLocks noGrp="1"/>
          </p:cNvSpPr>
          <p:nvPr>
            <p:ph type="pic" sz="quarter" idx="18"/>
          </p:nvPr>
        </p:nvSpPr>
        <p:spPr>
          <a:xfrm>
            <a:off x="897632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1" name="Bildplatzhalter 4">
            <a:extLst>
              <a:ext uri="{FF2B5EF4-FFF2-40B4-BE49-F238E27FC236}">
                <a16:creationId xmlns:a16="http://schemas.microsoft.com/office/drawing/2014/main" id="{0100649A-3EE7-484F-8840-CA5DC19F8258}"/>
              </a:ext>
            </a:extLst>
          </p:cNvPr>
          <p:cNvSpPr>
            <a:spLocks noGrp="1"/>
          </p:cNvSpPr>
          <p:nvPr>
            <p:ph type="pic" sz="quarter" idx="19"/>
          </p:nvPr>
        </p:nvSpPr>
        <p:spPr>
          <a:xfrm>
            <a:off x="561550" y="3999883"/>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2" name="Bildplatzhalter 4">
            <a:extLst>
              <a:ext uri="{FF2B5EF4-FFF2-40B4-BE49-F238E27FC236}">
                <a16:creationId xmlns:a16="http://schemas.microsoft.com/office/drawing/2014/main" id="{B55120ED-FA62-41B3-BB93-49CF37C57C21}"/>
              </a:ext>
            </a:extLst>
          </p:cNvPr>
          <p:cNvSpPr>
            <a:spLocks noGrp="1"/>
          </p:cNvSpPr>
          <p:nvPr>
            <p:ph type="pic" sz="quarter" idx="20"/>
          </p:nvPr>
        </p:nvSpPr>
        <p:spPr>
          <a:xfrm>
            <a:off x="3366473"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3" name="Bildplatzhalter 4">
            <a:extLst>
              <a:ext uri="{FF2B5EF4-FFF2-40B4-BE49-F238E27FC236}">
                <a16:creationId xmlns:a16="http://schemas.microsoft.com/office/drawing/2014/main" id="{AA88392E-5D3C-4304-AE39-FB5387725E65}"/>
              </a:ext>
            </a:extLst>
          </p:cNvPr>
          <p:cNvSpPr>
            <a:spLocks noGrp="1"/>
          </p:cNvSpPr>
          <p:nvPr>
            <p:ph type="pic" sz="quarter" idx="21"/>
          </p:nvPr>
        </p:nvSpPr>
        <p:spPr>
          <a:xfrm>
            <a:off x="6171396"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4" name="Bildplatzhalter 4">
            <a:extLst>
              <a:ext uri="{FF2B5EF4-FFF2-40B4-BE49-F238E27FC236}">
                <a16:creationId xmlns:a16="http://schemas.microsoft.com/office/drawing/2014/main" id="{A35F3718-65B4-4392-93CB-1CF751C7B276}"/>
              </a:ext>
            </a:extLst>
          </p:cNvPr>
          <p:cNvSpPr>
            <a:spLocks noGrp="1"/>
          </p:cNvSpPr>
          <p:nvPr>
            <p:ph type="pic" sz="quarter" idx="22"/>
          </p:nvPr>
        </p:nvSpPr>
        <p:spPr>
          <a:xfrm>
            <a:off x="8976320" y="2312876"/>
            <a:ext cx="918000" cy="1186951"/>
          </a:xfrm>
          <a:pattFill prst="lgCheck">
            <a:fgClr>
              <a:schemeClr val="bg1">
                <a:lumMod val="85000"/>
              </a:schemeClr>
            </a:fgClr>
            <a:bgClr>
              <a:schemeClr val="bg1"/>
            </a:bgClr>
          </a:pattFill>
        </p:spPr>
        <p:txBody>
          <a:bodyPr tIns="720000" anchor="ctr"/>
          <a:lstStyle>
            <a:lvl1pPr algn="ctr">
              <a:defRPr sz="800"/>
            </a:lvl1pPr>
          </a:lstStyle>
          <a:p>
            <a:r>
              <a:rPr lang="de-DE"/>
              <a:t>Bild durch Klicken auf Symbol hinzufügen</a:t>
            </a:r>
            <a:endParaRPr lang="de-CH"/>
          </a:p>
        </p:txBody>
      </p:sp>
      <p:sp>
        <p:nvSpPr>
          <p:cNvPr id="25" name="Textplatzhalter 2">
            <a:extLst>
              <a:ext uri="{FF2B5EF4-FFF2-40B4-BE49-F238E27FC236}">
                <a16:creationId xmlns:a16="http://schemas.microsoft.com/office/drawing/2014/main" id="{4B3219C0-DB30-4D57-9052-D99B39D1FEA1}"/>
              </a:ext>
            </a:extLst>
          </p:cNvPr>
          <p:cNvSpPr>
            <a:spLocks noGrp="1"/>
          </p:cNvSpPr>
          <p:nvPr>
            <p:ph idx="23" hasCustomPrompt="1"/>
          </p:nvPr>
        </p:nvSpPr>
        <p:spPr>
          <a:xfrm>
            <a:off x="4439226"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6" name="Textplatzhalter 2">
            <a:extLst>
              <a:ext uri="{FF2B5EF4-FFF2-40B4-BE49-F238E27FC236}">
                <a16:creationId xmlns:a16="http://schemas.microsoft.com/office/drawing/2014/main" id="{C0BFAFCB-6FFE-4BCB-8D43-2D17548C34E7}"/>
              </a:ext>
            </a:extLst>
          </p:cNvPr>
          <p:cNvSpPr>
            <a:spLocks noGrp="1"/>
          </p:cNvSpPr>
          <p:nvPr>
            <p:ph idx="24" hasCustomPrompt="1"/>
          </p:nvPr>
        </p:nvSpPr>
        <p:spPr>
          <a:xfrm>
            <a:off x="7246949"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7" name="Textplatzhalter 2">
            <a:extLst>
              <a:ext uri="{FF2B5EF4-FFF2-40B4-BE49-F238E27FC236}">
                <a16:creationId xmlns:a16="http://schemas.microsoft.com/office/drawing/2014/main" id="{E0E94DD1-78C7-4606-A63D-BCCE006B0846}"/>
              </a:ext>
            </a:extLst>
          </p:cNvPr>
          <p:cNvSpPr>
            <a:spLocks noGrp="1"/>
          </p:cNvSpPr>
          <p:nvPr>
            <p:ph idx="25" hasCustomPrompt="1"/>
          </p:nvPr>
        </p:nvSpPr>
        <p:spPr>
          <a:xfrm>
            <a:off x="10054671" y="2255921"/>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8" name="Textplatzhalter 2">
            <a:extLst>
              <a:ext uri="{FF2B5EF4-FFF2-40B4-BE49-F238E27FC236}">
                <a16:creationId xmlns:a16="http://schemas.microsoft.com/office/drawing/2014/main" id="{EFA5D121-281D-4F3A-B67A-BC47F100DE3F}"/>
              </a:ext>
            </a:extLst>
          </p:cNvPr>
          <p:cNvSpPr>
            <a:spLocks noGrp="1"/>
          </p:cNvSpPr>
          <p:nvPr>
            <p:ph idx="26" hasCustomPrompt="1"/>
          </p:nvPr>
        </p:nvSpPr>
        <p:spPr>
          <a:xfrm>
            <a:off x="1631503"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29" name="Textplatzhalter 2">
            <a:extLst>
              <a:ext uri="{FF2B5EF4-FFF2-40B4-BE49-F238E27FC236}">
                <a16:creationId xmlns:a16="http://schemas.microsoft.com/office/drawing/2014/main" id="{DAC7AD13-4CB1-40B6-8229-ECCE0AC38776}"/>
              </a:ext>
            </a:extLst>
          </p:cNvPr>
          <p:cNvSpPr>
            <a:spLocks noGrp="1"/>
          </p:cNvSpPr>
          <p:nvPr>
            <p:ph idx="27" hasCustomPrompt="1"/>
          </p:nvPr>
        </p:nvSpPr>
        <p:spPr>
          <a:xfrm>
            <a:off x="4439226"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0" name="Textplatzhalter 2">
            <a:extLst>
              <a:ext uri="{FF2B5EF4-FFF2-40B4-BE49-F238E27FC236}">
                <a16:creationId xmlns:a16="http://schemas.microsoft.com/office/drawing/2014/main" id="{F1A1FE98-08A8-43BA-A037-3A7927960120}"/>
              </a:ext>
            </a:extLst>
          </p:cNvPr>
          <p:cNvSpPr>
            <a:spLocks noGrp="1"/>
          </p:cNvSpPr>
          <p:nvPr>
            <p:ph idx="28" hasCustomPrompt="1"/>
          </p:nvPr>
        </p:nvSpPr>
        <p:spPr>
          <a:xfrm>
            <a:off x="7246949"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1" name="Textplatzhalter 2">
            <a:extLst>
              <a:ext uri="{FF2B5EF4-FFF2-40B4-BE49-F238E27FC236}">
                <a16:creationId xmlns:a16="http://schemas.microsoft.com/office/drawing/2014/main" id="{0130F7F6-3D75-4F98-A8F4-EFBA8E91ED85}"/>
              </a:ext>
            </a:extLst>
          </p:cNvPr>
          <p:cNvSpPr>
            <a:spLocks noGrp="1"/>
          </p:cNvSpPr>
          <p:nvPr>
            <p:ph idx="29" hasCustomPrompt="1"/>
          </p:nvPr>
        </p:nvSpPr>
        <p:spPr>
          <a:xfrm>
            <a:off x="10054671" y="3963010"/>
            <a:ext cx="1440000" cy="1243906"/>
          </a:xfrm>
          <a:prstGeom prst="rect">
            <a:avLst/>
          </a:prstGeom>
        </p:spPr>
        <p:txBody>
          <a:bodyPr vert="horz" lIns="0" tIns="0" rIns="0" bIns="0" rtlCol="0">
            <a:noAutofit/>
          </a:bodyPr>
          <a:lstStyle>
            <a:lvl1pPr>
              <a:lnSpc>
                <a:spcPct val="125000"/>
              </a:lnSpc>
              <a:defRPr sz="1000" spc="40" baseline="0"/>
            </a:lvl1pPr>
            <a:lvl2pPr>
              <a:lnSpc>
                <a:spcPct val="130000"/>
              </a:lnSpc>
              <a:buNone/>
              <a:defRPr sz="1400" spc="40" baseline="0"/>
            </a:lvl2pPr>
            <a:lvl3pPr>
              <a:lnSpc>
                <a:spcPct val="130000"/>
              </a:lnSpc>
              <a:defRPr sz="1400" spc="40" baseline="0"/>
            </a:lvl3pPr>
            <a:lvl4pPr>
              <a:lnSpc>
                <a:spcPct val="130000"/>
              </a:lnSpc>
              <a:defRPr sz="1400" spc="40" baseline="0"/>
            </a:lvl4pPr>
            <a:lvl5pPr>
              <a:lnSpc>
                <a:spcPct val="130000"/>
              </a:lnSpc>
              <a:defRPr sz="1400" spc="40" baseline="0"/>
            </a:lvl5pPr>
            <a:lvl6pPr>
              <a:lnSpc>
                <a:spcPct val="130000"/>
              </a:lnSpc>
              <a:defRPr sz="1400" spc="40" baseline="0"/>
            </a:lvl6pPr>
          </a:lstStyle>
          <a:p>
            <a:pPr lvl="0"/>
            <a:r>
              <a:rPr lang="de-CH" noProof="0"/>
              <a:t>Textmasterformat bearbeiten</a:t>
            </a:r>
          </a:p>
        </p:txBody>
      </p:sp>
      <p:sp>
        <p:nvSpPr>
          <p:cNvPr id="3" name="Titel 2">
            <a:extLst>
              <a:ext uri="{FF2B5EF4-FFF2-40B4-BE49-F238E27FC236}">
                <a16:creationId xmlns:a16="http://schemas.microsoft.com/office/drawing/2014/main" id="{EFC918BB-DABB-42F8-B06F-81AD24E4E995}"/>
              </a:ext>
            </a:extLst>
          </p:cNvPr>
          <p:cNvSpPr>
            <a:spLocks noGrp="1"/>
          </p:cNvSpPr>
          <p:nvPr>
            <p:ph type="title" hasCustomPrompt="1"/>
          </p:nvPr>
        </p:nvSpPr>
        <p:spPr/>
        <p:txBody>
          <a:bodyPr/>
          <a:lstStyle>
            <a:lvl1pPr>
              <a:defRPr/>
            </a:lvl1pPr>
          </a:lstStyle>
          <a:p>
            <a:r>
              <a:rPr lang="de-DE"/>
              <a:t>Titel hinzufügen.</a:t>
            </a:r>
            <a:endParaRPr lang="de-CH"/>
          </a:p>
        </p:txBody>
      </p:sp>
    </p:spTree>
    <p:extLst>
      <p:ext uri="{BB962C8B-B14F-4D97-AF65-F5344CB8AC3E}">
        <p14:creationId xmlns:p14="http://schemas.microsoft.com/office/powerpoint/2010/main" val="966108156"/>
      </p:ext>
    </p:extLst>
  </p:cSld>
  <p:clrMapOvr>
    <a:masterClrMapping/>
  </p:clrMapOvr>
  <p:extLst>
    <p:ext uri="{DCECCB84-F9BA-43D5-87BE-67443E8EF086}">
      <p15:sldGuideLst xmlns:p15="http://schemas.microsoft.com/office/powerpoint/2012/main">
        <p15:guide id="1" pos="932">
          <p15:clr>
            <a:srgbClr val="FBAE40"/>
          </p15:clr>
        </p15:guide>
        <p15:guide id="3" orient="horz" pos="4043">
          <p15:clr>
            <a:srgbClr val="FBAE40"/>
          </p15:clr>
        </p15:guide>
        <p15:guide id="4" orient="horz" pos="2358">
          <p15:clr>
            <a:srgbClr val="FBAE40"/>
          </p15:clr>
        </p15:guide>
        <p15:guide id="5" pos="7336">
          <p15:clr>
            <a:srgbClr val="FBAE40"/>
          </p15:clr>
        </p15:guide>
        <p15:guide id="6" orient="horz" pos="2450">
          <p15:clr>
            <a:srgbClr val="FBAE40"/>
          </p15:clr>
        </p15:guide>
        <p15:guide id="7" orient="horz" pos="130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artner">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16" name="Inhaltsplatzhalter 3">
            <a:extLst>
              <a:ext uri="{FF2B5EF4-FFF2-40B4-BE49-F238E27FC236}">
                <a16:creationId xmlns:a16="http://schemas.microsoft.com/office/drawing/2014/main" id="{224C8ED8-2724-43D9-B629-670917E36DA8}"/>
              </a:ext>
            </a:extLst>
          </p:cNvPr>
          <p:cNvSpPr>
            <a:spLocks noGrp="1"/>
          </p:cNvSpPr>
          <p:nvPr>
            <p:ph sz="quarter" idx="15" hasCustomPrompt="1"/>
          </p:nvPr>
        </p:nvSpPr>
        <p:spPr>
          <a:xfrm>
            <a:off x="4657588" y="2238375"/>
            <a:ext cx="2880000" cy="1260000"/>
          </a:xfrm>
        </p:spPr>
        <p:txBody>
          <a:bodyPr tIns="864000"/>
          <a:lstStyle>
            <a:lvl1pPr>
              <a:defRPr sz="1200">
                <a:solidFill>
                  <a:schemeClr val="tx2"/>
                </a:solidFill>
              </a:defRPr>
            </a:lvl1pPr>
          </a:lstStyle>
          <a:p>
            <a:pPr lvl="0"/>
            <a:r>
              <a:rPr lang="de-DE"/>
              <a:t>Logo einfügen  ↑</a:t>
            </a:r>
          </a:p>
        </p:txBody>
      </p:sp>
      <p:sp>
        <p:nvSpPr>
          <p:cNvPr id="15" name="Inhaltsplatzhalter 3">
            <a:extLst>
              <a:ext uri="{FF2B5EF4-FFF2-40B4-BE49-F238E27FC236}">
                <a16:creationId xmlns:a16="http://schemas.microsoft.com/office/drawing/2014/main" id="{1717B421-41C1-4A6B-90F7-CF61E0FDE942}"/>
              </a:ext>
            </a:extLst>
          </p:cNvPr>
          <p:cNvSpPr>
            <a:spLocks noGrp="1"/>
          </p:cNvSpPr>
          <p:nvPr>
            <p:ph sz="quarter" idx="14" hasCustomPrompt="1"/>
          </p:nvPr>
        </p:nvSpPr>
        <p:spPr>
          <a:xfrm>
            <a:off x="7827688" y="2238375"/>
            <a:ext cx="2880000" cy="1260000"/>
          </a:xfrm>
        </p:spPr>
        <p:txBody>
          <a:bodyPr tIns="864000"/>
          <a:lstStyle>
            <a:lvl1pPr>
              <a:defRPr sz="1200">
                <a:solidFill>
                  <a:schemeClr val="tx2"/>
                </a:solidFill>
              </a:defRPr>
            </a:lvl1pPr>
          </a:lstStyle>
          <a:p>
            <a:pPr lvl="0"/>
            <a:r>
              <a:rPr lang="de-DE"/>
              <a:t>Logo einfügen  ↑</a:t>
            </a:r>
          </a:p>
        </p:txBody>
      </p:sp>
      <p:sp>
        <p:nvSpPr>
          <p:cNvPr id="4" name="Inhaltsplatzhalter 3">
            <a:extLst>
              <a:ext uri="{FF2B5EF4-FFF2-40B4-BE49-F238E27FC236}">
                <a16:creationId xmlns:a16="http://schemas.microsoft.com/office/drawing/2014/main" id="{93580659-36ED-4234-B5A1-CD00BD4FE26A}"/>
              </a:ext>
            </a:extLst>
          </p:cNvPr>
          <p:cNvSpPr>
            <a:spLocks noGrp="1"/>
          </p:cNvSpPr>
          <p:nvPr>
            <p:ph sz="quarter" idx="13" hasCustomPrompt="1"/>
          </p:nvPr>
        </p:nvSpPr>
        <p:spPr>
          <a:xfrm>
            <a:off x="1487488" y="2238375"/>
            <a:ext cx="2880000" cy="1260000"/>
          </a:xfrm>
        </p:spPr>
        <p:txBody>
          <a:bodyPr tIns="900000"/>
          <a:lstStyle>
            <a:lvl1pPr>
              <a:defRPr sz="1200">
                <a:solidFill>
                  <a:schemeClr val="tx2"/>
                </a:solidFill>
                <a:latin typeface="+mj-lt"/>
                <a:ea typeface="Segoe UI Symbol" panose="020B0502040204020203" pitchFamily="34" charset="0"/>
              </a:defRPr>
            </a:lvl1pPr>
          </a:lstStyle>
          <a:p>
            <a:pPr lvl="0"/>
            <a:r>
              <a:rPr lang="de-DE"/>
              <a:t>Logo einfügen  ↑</a:t>
            </a:r>
          </a:p>
          <a:p>
            <a:pPr lvl="0"/>
            <a:endParaRPr lang="de-DE"/>
          </a:p>
        </p:txBody>
      </p:sp>
      <p:sp>
        <p:nvSpPr>
          <p:cNvPr id="17" name="Inhaltsplatzhalter 3">
            <a:extLst>
              <a:ext uri="{FF2B5EF4-FFF2-40B4-BE49-F238E27FC236}">
                <a16:creationId xmlns:a16="http://schemas.microsoft.com/office/drawing/2014/main" id="{39A87105-EF9A-4156-88A6-10AB358E2DDC}"/>
              </a:ext>
            </a:extLst>
          </p:cNvPr>
          <p:cNvSpPr>
            <a:spLocks noGrp="1"/>
          </p:cNvSpPr>
          <p:nvPr>
            <p:ph sz="quarter" idx="16" hasCustomPrompt="1"/>
          </p:nvPr>
        </p:nvSpPr>
        <p:spPr>
          <a:xfrm>
            <a:off x="4650827" y="3972911"/>
            <a:ext cx="2880000" cy="1260000"/>
          </a:xfrm>
        </p:spPr>
        <p:txBody>
          <a:bodyPr tIns="864000"/>
          <a:lstStyle>
            <a:lvl1pPr>
              <a:defRPr sz="1200">
                <a:solidFill>
                  <a:schemeClr val="tx2"/>
                </a:solidFill>
              </a:defRPr>
            </a:lvl1pPr>
          </a:lstStyle>
          <a:p>
            <a:pPr lvl="0"/>
            <a:r>
              <a:rPr lang="de-DE"/>
              <a:t>Logo einfügen  ↑</a:t>
            </a:r>
          </a:p>
        </p:txBody>
      </p:sp>
      <p:sp>
        <p:nvSpPr>
          <p:cNvPr id="18" name="Inhaltsplatzhalter 3">
            <a:extLst>
              <a:ext uri="{FF2B5EF4-FFF2-40B4-BE49-F238E27FC236}">
                <a16:creationId xmlns:a16="http://schemas.microsoft.com/office/drawing/2014/main" id="{547DC7D8-C082-4D4E-B4D1-4F377A1F92DA}"/>
              </a:ext>
            </a:extLst>
          </p:cNvPr>
          <p:cNvSpPr>
            <a:spLocks noGrp="1"/>
          </p:cNvSpPr>
          <p:nvPr>
            <p:ph sz="quarter" idx="17" hasCustomPrompt="1"/>
          </p:nvPr>
        </p:nvSpPr>
        <p:spPr>
          <a:xfrm>
            <a:off x="7820927" y="3972911"/>
            <a:ext cx="2880000" cy="1260000"/>
          </a:xfrm>
        </p:spPr>
        <p:txBody>
          <a:bodyPr tIns="864000"/>
          <a:lstStyle>
            <a:lvl1pPr>
              <a:defRPr sz="1200">
                <a:solidFill>
                  <a:schemeClr val="tx2"/>
                </a:solidFill>
              </a:defRPr>
            </a:lvl1pPr>
          </a:lstStyle>
          <a:p>
            <a:pPr lvl="0"/>
            <a:r>
              <a:rPr lang="de-DE"/>
              <a:t>Logo einfügen  ↑</a:t>
            </a:r>
          </a:p>
        </p:txBody>
      </p:sp>
      <p:sp>
        <p:nvSpPr>
          <p:cNvPr id="19" name="Inhaltsplatzhalter 3">
            <a:extLst>
              <a:ext uri="{FF2B5EF4-FFF2-40B4-BE49-F238E27FC236}">
                <a16:creationId xmlns:a16="http://schemas.microsoft.com/office/drawing/2014/main" id="{866A87BE-453D-443B-A4F0-271A8A4826BB}"/>
              </a:ext>
            </a:extLst>
          </p:cNvPr>
          <p:cNvSpPr>
            <a:spLocks noGrp="1"/>
          </p:cNvSpPr>
          <p:nvPr>
            <p:ph sz="quarter" idx="18" hasCustomPrompt="1"/>
          </p:nvPr>
        </p:nvSpPr>
        <p:spPr>
          <a:xfrm>
            <a:off x="1480727" y="3972911"/>
            <a:ext cx="2880000" cy="1260000"/>
          </a:xfrm>
        </p:spPr>
        <p:txBody>
          <a:bodyPr tIns="864000"/>
          <a:lstStyle>
            <a:lvl1pPr>
              <a:defRPr sz="1200">
                <a:solidFill>
                  <a:schemeClr val="tx2"/>
                </a:solidFill>
              </a:defRPr>
            </a:lvl1pPr>
          </a:lstStyle>
          <a:p>
            <a:pPr lvl="0"/>
            <a:r>
              <a:rPr lang="de-DE"/>
              <a:t>Logo einfügen  ↑</a:t>
            </a:r>
          </a:p>
        </p:txBody>
      </p:sp>
    </p:spTree>
    <p:extLst>
      <p:ext uri="{BB962C8B-B14F-4D97-AF65-F5344CB8AC3E}">
        <p14:creationId xmlns:p14="http://schemas.microsoft.com/office/powerpoint/2010/main" val="3903850142"/>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und Bild">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Textfolie mit Bild.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Textplatzhalter 6"/>
          <p:cNvSpPr>
            <a:spLocks noGrp="1"/>
          </p:cNvSpPr>
          <p:nvPr>
            <p:ph type="body" sz="quarter" idx="12" hasCustomPrompt="1"/>
          </p:nvPr>
        </p:nvSpPr>
        <p:spPr>
          <a:xfrm>
            <a:off x="719665" y="1509183"/>
            <a:ext cx="68640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9" name="Bildplatzhalter 8"/>
          <p:cNvSpPr>
            <a:spLocks noGrp="1"/>
          </p:cNvSpPr>
          <p:nvPr>
            <p:ph type="pic" sz="quarter" idx="13" hasCustomPrompt="1"/>
          </p:nvPr>
        </p:nvSpPr>
        <p:spPr>
          <a:xfrm>
            <a:off x="7776000" y="1509184"/>
            <a:ext cx="4416000" cy="5088467"/>
          </a:xfrm>
        </p:spPr>
        <p:txBody>
          <a:bodyPr anchor="ctr" anchorCtr="1"/>
          <a:lstStyle>
            <a:lvl1pPr marL="0" indent="0" algn="ctr">
              <a:buNone/>
              <a:defRPr/>
            </a:lvl1pPr>
          </a:lstStyle>
          <a:p>
            <a:r>
              <a:rPr lang="de-CH"/>
              <a:t>Klicken Sie hier, um ein Bild einzufügen</a:t>
            </a:r>
          </a:p>
        </p:txBody>
      </p:sp>
      <p:pic>
        <p:nvPicPr>
          <p:cNvPr id="8" name="Logo_SBB_Symbol">
            <a:extLst>
              <a:ext uri="{FF2B5EF4-FFF2-40B4-BE49-F238E27FC236}">
                <a16:creationId xmlns:a16="http://schemas.microsoft.com/office/drawing/2014/main" id="{80677793-ADFC-4517-B0B5-B82B75B2BC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28054091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CH"/>
              <a:t>Titel hinzufügen.</a:t>
            </a:r>
          </a:p>
        </p:txBody>
      </p:sp>
      <p:sp>
        <p:nvSpPr>
          <p:cNvPr id="6" name="Datumsplatzhalter 5"/>
          <p:cNvSpPr>
            <a:spLocks noGrp="1"/>
          </p:cNvSpPr>
          <p:nvPr>
            <p:ph type="dt" sz="half" idx="10"/>
          </p:nvPr>
        </p:nvSpPr>
        <p:spPr/>
        <p:txBody>
          <a:bodyPr/>
          <a:lstStyle/>
          <a:p>
            <a:fld id="{886D49F2-16E1-4A74-9E50-9FB6B6B9CAA4}"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1967145552"/>
      </p:ext>
    </p:extLst>
  </p:cSld>
  <p:clrMapOvr>
    <a:masterClrMapping/>
  </p:clrMapOvr>
  <p:extLst>
    <p:ext uri="{DCECCB84-F9BA-43D5-87BE-67443E8EF086}">
      <p15:sldGuideLst xmlns:p15="http://schemas.microsoft.com/office/powerpoint/2012/main">
        <p15:guide id="1" orient="horz" pos="1410">
          <p15:clr>
            <a:srgbClr val="FBAE40"/>
          </p15:clr>
        </p15:guide>
        <p15:guide id="2" orient="horz" pos="4043">
          <p15:clr>
            <a:srgbClr val="FBAE40"/>
          </p15:clr>
        </p15:guide>
        <p15:guide id="3" pos="932">
          <p15:clr>
            <a:srgbClr val="FBAE40"/>
          </p15:clr>
        </p15:guide>
        <p15:guide id="4" pos="6745">
          <p15:clr>
            <a:srgbClr val="FBAE40"/>
          </p15:clr>
        </p15:guide>
        <p15:guide id="5" pos="7336">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B2C9A677-42EB-4007-B205-C7501220950B}" type="datetimeyyyy">
              <a:rPr lang="de-CH" smtClean="0"/>
              <a:t>2025</a:t>
            </a:fld>
            <a:endParaRPr lang="de-CH"/>
          </a:p>
        </p:txBody>
      </p:sp>
      <p:sp>
        <p:nvSpPr>
          <p:cNvPr id="6" name="Fußzeilenplatzhalter 5"/>
          <p:cNvSpPr>
            <a:spLocks noGrp="1"/>
          </p:cNvSpPr>
          <p:nvPr>
            <p:ph type="ftr" sz="quarter" idx="11"/>
          </p:nvPr>
        </p:nvSpPr>
        <p:spPr/>
        <p:txBody>
          <a:bodyPr/>
          <a:lstStyle/>
          <a:p>
            <a:r>
              <a:rPr lang="de-DE"/>
              <a:t>SBB Division Abteilung und Bereich</a:t>
            </a:r>
            <a:endParaRPr lang="de-CH"/>
          </a:p>
        </p:txBody>
      </p:sp>
      <p:sp>
        <p:nvSpPr>
          <p:cNvPr id="7" name="Foliennummernplatzhalter 6"/>
          <p:cNvSpPr>
            <a:spLocks noGrp="1"/>
          </p:cNvSpPr>
          <p:nvPr>
            <p:ph type="sldNum" sz="quarter" idx="12"/>
          </p:nvPr>
        </p:nvSpPr>
        <p:spPr/>
        <p:txBody>
          <a:bodyPr/>
          <a:lstStyle/>
          <a:p>
            <a:fld id="{442AD375-037F-43D0-B059-5172DA06796A}" type="slidenum">
              <a:rPr lang="de-CH" smtClean="0"/>
              <a:pPr/>
              <a:t>‹Nr.›</a:t>
            </a:fld>
            <a:endParaRPr lang="de-CH"/>
          </a:p>
        </p:txBody>
      </p:sp>
    </p:spTree>
    <p:extLst>
      <p:ext uri="{BB962C8B-B14F-4D97-AF65-F5344CB8AC3E}">
        <p14:creationId xmlns:p14="http://schemas.microsoft.com/office/powerpoint/2010/main" val="805740325"/>
      </p:ext>
    </p:extLst>
  </p:cSld>
  <p:clrMapOvr>
    <a:masterClrMapping/>
  </p:clrMapOvr>
  <p:extLst>
    <p:ext uri="{DCECCB84-F9BA-43D5-87BE-67443E8EF086}">
      <p15:sldGuideLst xmlns:p15="http://schemas.microsoft.com/office/powerpoint/2012/main">
        <p15:guide id="1" orient="horz" pos="368">
          <p15:clr>
            <a:srgbClr val="FBAE40"/>
          </p15:clr>
        </p15:guide>
        <p15:guide id="2" orient="horz" pos="4040">
          <p15:clr>
            <a:srgbClr val="FBAE40"/>
          </p15:clr>
        </p15:guide>
        <p15:guide id="3" pos="7336">
          <p15:clr>
            <a:srgbClr val="FBAE40"/>
          </p15:clr>
        </p15:guide>
        <p15:guide id="4" pos="345">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Schlussfolie SBB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D697C572-0C30-42E1-8099-4434D27642AF}"/>
              </a:ext>
            </a:extLst>
          </p:cNvPr>
          <p:cNvSpPr>
            <a:spLocks noGrp="1"/>
          </p:cNvSpPr>
          <p:nvPr>
            <p:ph type="body" sz="quarter" idx="14" hasCustomPrompt="1"/>
          </p:nvPr>
        </p:nvSpPr>
        <p:spPr>
          <a:xfrm>
            <a:off x="9906000" y="288130"/>
            <a:ext cx="1738313" cy="195263"/>
          </a:xfrm>
          <a:blipFill>
            <a:blip r:embed="rId2" cstate="print">
              <a:extLst>
                <a:ext uri="{28A0092B-C50C-407E-A947-70E740481C1C}">
                  <a14:useLocalDpi xmlns:a14="http://schemas.microsoft.com/office/drawing/2010/main"/>
                </a:ext>
              </a:extLst>
            </a:blip>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580206619"/>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Schlussfolie SBB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1" name="Textplatzhalter 11">
            <a:extLst>
              <a:ext uri="{FF2B5EF4-FFF2-40B4-BE49-F238E27FC236}">
                <a16:creationId xmlns:a16="http://schemas.microsoft.com/office/drawing/2014/main" id="{9E92CD1E-D16D-41A3-8E3B-BE988C7E3B11}"/>
              </a:ext>
            </a:extLst>
          </p:cNvPr>
          <p:cNvSpPr>
            <a:spLocks noGrp="1"/>
          </p:cNvSpPr>
          <p:nvPr>
            <p:ph type="body" sz="quarter" idx="14" hasCustomPrompt="1"/>
          </p:nvPr>
        </p:nvSpPr>
        <p:spPr>
          <a:xfrm>
            <a:off x="9906000" y="288130"/>
            <a:ext cx="1738313" cy="195263"/>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3480847811"/>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Schlussfolie Cargo (Logo weiss)">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92300117-97DA-4BC5-B68D-05ED07097A61}"/>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2381665827"/>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Schlussfolie Cargo (Logo schwarz)">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fld id="{19157058-9CCA-4EAA-8D6E-1E10DBF3C026}" type="datetimeyyyy">
              <a:rPr lang="de-CH" smtClean="0"/>
              <a:t>2025</a:t>
            </a:fld>
            <a:endParaRPr lang="de-CH"/>
          </a:p>
        </p:txBody>
      </p:sp>
      <p:sp>
        <p:nvSpPr>
          <p:cNvPr id="7" name="Fußzeilenplatzhalter 6"/>
          <p:cNvSpPr>
            <a:spLocks noGrp="1"/>
          </p:cNvSpPr>
          <p:nvPr>
            <p:ph type="ftr" sz="quarter" idx="11"/>
          </p:nvPr>
        </p:nvSpPr>
        <p:spPr/>
        <p:txBody>
          <a:bodyPr/>
          <a:lstStyle/>
          <a:p>
            <a:r>
              <a:rPr lang="de-DE"/>
              <a:t>SBB Division Abteilung und Bereich</a:t>
            </a:r>
            <a:endParaRPr lang="de-CH"/>
          </a:p>
        </p:txBody>
      </p:sp>
      <p:sp>
        <p:nvSpPr>
          <p:cNvPr id="8" name="Foliennummernplatzhalter 7"/>
          <p:cNvSpPr>
            <a:spLocks noGrp="1"/>
          </p:cNvSpPr>
          <p:nvPr>
            <p:ph type="sldNum" sz="quarter" idx="12"/>
          </p:nvPr>
        </p:nvSpPr>
        <p:spPr/>
        <p:txBody>
          <a:bodyPr/>
          <a:lstStyle/>
          <a:p>
            <a:fld id="{442AD375-037F-43D0-B059-5172DA06796A}" type="slidenum">
              <a:rPr lang="de-CH" smtClean="0"/>
              <a:pPr/>
              <a:t>‹Nr.›</a:t>
            </a:fld>
            <a:endParaRPr lang="de-CH"/>
          </a:p>
        </p:txBody>
      </p:sp>
      <p:sp>
        <p:nvSpPr>
          <p:cNvPr id="9" name="Bildplatzhalter 4">
            <a:extLst>
              <a:ext uri="{FF2B5EF4-FFF2-40B4-BE49-F238E27FC236}">
                <a16:creationId xmlns:a16="http://schemas.microsoft.com/office/drawing/2014/main" id="{48112DF6-4098-4F29-A03A-A435585B411F}"/>
              </a:ext>
            </a:extLst>
          </p:cNvPr>
          <p:cNvSpPr>
            <a:spLocks noGrp="1"/>
          </p:cNvSpPr>
          <p:nvPr>
            <p:ph type="pic" sz="quarter" idx="15" hasCustomPrompt="1"/>
          </p:nvPr>
        </p:nvSpPr>
        <p:spPr>
          <a:xfrm>
            <a:off x="0" y="0"/>
            <a:ext cx="12192000" cy="6858000"/>
          </a:xfrm>
          <a:pattFill prst="lgCheck">
            <a:fgClr>
              <a:schemeClr val="bg1">
                <a:lumMod val="85000"/>
              </a:schemeClr>
            </a:fgClr>
            <a:bgClr>
              <a:schemeClr val="bg1"/>
            </a:bgClr>
          </a:pattFill>
        </p:spPr>
        <p:txBody>
          <a:bodyPr tIns="2880000" anchor="ctr"/>
          <a:lstStyle>
            <a:lvl1pPr algn="ctr">
              <a:defRPr sz="1200"/>
            </a:lvl1pPr>
          </a:lstStyle>
          <a:p>
            <a:r>
              <a:rPr lang="de-CH"/>
              <a:t>Bild durch «</a:t>
            </a:r>
            <a:r>
              <a:rPr lang="de-CH" err="1"/>
              <a:t>drag</a:t>
            </a:r>
            <a:r>
              <a:rPr lang="de-CH"/>
              <a:t> and </a:t>
            </a:r>
            <a:r>
              <a:rPr lang="de-CH" err="1"/>
              <a:t>drop</a:t>
            </a:r>
            <a:r>
              <a:rPr lang="de-CH"/>
              <a:t>» in den Platzhalter ziehen.</a:t>
            </a:r>
            <a:br>
              <a:rPr lang="de-CH"/>
            </a:br>
            <a:r>
              <a:rPr lang="de-CH"/>
              <a:t>Bild gegebenenfalls in den Hintergrund stellen.</a:t>
            </a:r>
          </a:p>
        </p:txBody>
      </p:sp>
      <p:sp>
        <p:nvSpPr>
          <p:cNvPr id="2" name="Titel 1"/>
          <p:cNvSpPr>
            <a:spLocks noGrp="1"/>
          </p:cNvSpPr>
          <p:nvPr>
            <p:ph type="title" hasCustomPrompt="1"/>
          </p:nvPr>
        </p:nvSpPr>
        <p:spPr>
          <a:xfrm>
            <a:off x="550862" y="2242616"/>
            <a:ext cx="11090276" cy="2162524"/>
          </a:xfrm>
        </p:spPr>
        <p:txBody>
          <a:bodyPr anchor="ctr"/>
          <a:lstStyle>
            <a:lvl1pPr algn="ctr">
              <a:lnSpc>
                <a:spcPct val="92000"/>
              </a:lnSpc>
              <a:defRPr sz="8400" spc="180" baseline="0">
                <a:solidFill>
                  <a:schemeClr val="bg1"/>
                </a:solidFill>
              </a:defRPr>
            </a:lvl1pPr>
          </a:lstStyle>
          <a:p>
            <a:r>
              <a:rPr lang="de-CH"/>
              <a:t>Text hinzufügen.</a:t>
            </a:r>
          </a:p>
        </p:txBody>
      </p:sp>
      <p:sp>
        <p:nvSpPr>
          <p:cNvPr id="10" name="Textplatzhalter 11">
            <a:extLst>
              <a:ext uri="{FF2B5EF4-FFF2-40B4-BE49-F238E27FC236}">
                <a16:creationId xmlns:a16="http://schemas.microsoft.com/office/drawing/2014/main" id="{01309523-3546-4A6B-BA61-7A6E63A78BA0}"/>
              </a:ext>
            </a:extLst>
          </p:cNvPr>
          <p:cNvSpPr>
            <a:spLocks noGrp="1"/>
          </p:cNvSpPr>
          <p:nvPr>
            <p:ph type="body" sz="quarter" idx="19" hasCustomPrompt="1"/>
          </p:nvPr>
        </p:nvSpPr>
        <p:spPr>
          <a:xfrm>
            <a:off x="9366125" y="292895"/>
            <a:ext cx="2281561" cy="194344"/>
          </a:xfrm>
          <a:blipFill>
            <a:blip r:embed="rId2"/>
            <a:stretch>
              <a:fillRect/>
            </a:stretch>
          </a:blipFill>
        </p:spPr>
        <p:txBody>
          <a:bodyPr/>
          <a:lstStyle>
            <a:lvl1pPr>
              <a:defRPr sz="100">
                <a:noFill/>
              </a:defRPr>
            </a:lvl1pPr>
            <a:lvl2pPr>
              <a:defRPr sz="100">
                <a:noFill/>
              </a:defRPr>
            </a:lvl2pPr>
            <a:lvl3pPr>
              <a:defRPr sz="100">
                <a:noFill/>
              </a:defRPr>
            </a:lvl3pPr>
            <a:lvl4pPr>
              <a:defRPr sz="100">
                <a:noFill/>
              </a:defRPr>
            </a:lvl4pPr>
            <a:lvl5pPr>
              <a:defRPr sz="100">
                <a:noFill/>
              </a:defRPr>
            </a:lvl5pPr>
          </a:lstStyle>
          <a:p>
            <a:pPr lvl="0"/>
            <a:r>
              <a:rPr lang="de-DE"/>
              <a:t> </a:t>
            </a:r>
            <a:endParaRPr lang="de-CH"/>
          </a:p>
        </p:txBody>
      </p:sp>
    </p:spTree>
    <p:extLst>
      <p:ext uri="{BB962C8B-B14F-4D97-AF65-F5344CB8AC3E}">
        <p14:creationId xmlns:p14="http://schemas.microsoft.com/office/powerpoint/2010/main" val="678577806"/>
      </p:ext>
    </p:extLst>
  </p:cSld>
  <p:clrMapOvr>
    <a:masterClrMapping/>
  </p:clrMapOvr>
  <p:extLst>
    <p:ext uri="{DCECCB84-F9BA-43D5-87BE-67443E8EF086}">
      <p15:sldGuideLst xmlns:p15="http://schemas.microsoft.com/office/powerpoint/2012/main">
        <p15:guide id="1" pos="345">
          <p15:clr>
            <a:srgbClr val="FBAE40"/>
          </p15:clr>
        </p15:guide>
        <p15:guide id="2" pos="7336">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el, Text und Objek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e-CH" dirty="0"/>
              <a:t>Die Objektfolie. </a:t>
            </a:r>
            <a:br>
              <a:rPr lang="de-CH" dirty="0"/>
            </a:br>
            <a:r>
              <a:rPr lang="de-CH" dirty="0"/>
              <a:t>Titel bitte maximal zweizeilig.</a:t>
            </a:r>
            <a:endParaRPr lang="de-CH" noProof="0" dirty="0"/>
          </a:p>
        </p:txBody>
      </p:sp>
      <p:sp>
        <p:nvSpPr>
          <p:cNvPr id="6" name="Footer Placeholder 5"/>
          <p:cNvSpPr>
            <a:spLocks noGrp="1"/>
          </p:cNvSpPr>
          <p:nvPr>
            <p:ph type="ftr" sz="quarter" idx="11"/>
          </p:nvPr>
        </p:nvSpPr>
        <p:spPr/>
        <p:txBody>
          <a:bodyPr/>
          <a:lstStyle/>
          <a:p>
            <a:r>
              <a:rPr lang="de-CH" noProof="0"/>
              <a:t>stat@sbb.ch 20.03.18</a:t>
            </a:r>
            <a:endParaRPr lang="de-CH" noProof="0" dirty="0"/>
          </a:p>
        </p:txBody>
      </p:sp>
      <p:sp>
        <p:nvSpPr>
          <p:cNvPr id="7" name="Slide Number Placeholder 6"/>
          <p:cNvSpPr>
            <a:spLocks noGrp="1"/>
          </p:cNvSpPr>
          <p:nvPr>
            <p:ph type="sldNum" sz="quarter" idx="12"/>
          </p:nvPr>
        </p:nvSpPr>
        <p:spPr/>
        <p:txBody>
          <a:bodyPr/>
          <a:lstStyle/>
          <a:p>
            <a:fld id="{5E115662-413A-4888-B9BC-797CDE14544F}" type="slidenum">
              <a:rPr lang="de-CH" noProof="0" smtClean="0"/>
              <a:t>‹Nr.›</a:t>
            </a:fld>
            <a:endParaRPr lang="de-CH" noProof="0"/>
          </a:p>
        </p:txBody>
      </p:sp>
      <p:sp>
        <p:nvSpPr>
          <p:cNvPr id="8" name="Text Placeholder 7"/>
          <p:cNvSpPr>
            <a:spLocks noGrp="1"/>
          </p:cNvSpPr>
          <p:nvPr>
            <p:ph type="body" sz="quarter" idx="13"/>
          </p:nvPr>
        </p:nvSpPr>
        <p:spPr>
          <a:xfrm>
            <a:off x="1007533" y="1656000"/>
            <a:ext cx="10752667" cy="720799"/>
          </a:xfrm>
        </p:spPr>
        <p:txBody>
          <a:bodyPr/>
          <a:lstStyle>
            <a:lvl1pPr marL="0" indent="0">
              <a:spcBef>
                <a:spcPts val="0"/>
              </a:spcBef>
              <a:buNone/>
              <a:defRPr/>
            </a:lvl1pPr>
            <a:lvl2pPr marL="288000" indent="0">
              <a:buNone/>
              <a:defRPr/>
            </a:lvl2pPr>
          </a:lstStyle>
          <a:p>
            <a:pPr lvl="0"/>
            <a:r>
              <a:rPr lang="de-DE" noProof="0"/>
              <a:t>Textmasterformat bearbeiten</a:t>
            </a:r>
          </a:p>
        </p:txBody>
      </p:sp>
      <p:sp>
        <p:nvSpPr>
          <p:cNvPr id="10" name="Content Placeholder 9"/>
          <p:cNvSpPr>
            <a:spLocks noGrp="1"/>
          </p:cNvSpPr>
          <p:nvPr>
            <p:ph sz="quarter" idx="14"/>
          </p:nvPr>
        </p:nvSpPr>
        <p:spPr>
          <a:xfrm>
            <a:off x="1007533" y="2451600"/>
            <a:ext cx="10752667" cy="3528016"/>
          </a:xfrm>
        </p:spPr>
        <p:txBody>
          <a:bodyPr>
            <a:noAutofit/>
          </a:body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CH" noProof="0"/>
          </a:p>
        </p:txBody>
      </p:sp>
    </p:spTree>
    <p:extLst>
      <p:ext uri="{BB962C8B-B14F-4D97-AF65-F5344CB8AC3E}">
        <p14:creationId xmlns:p14="http://schemas.microsoft.com/office/powerpoint/2010/main" val="3770387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de-DE"/>
              <a:t>Textfolie mit Bild. Titel maximal einzeilig.</a:t>
            </a:r>
            <a:endParaRPr lang="de-CH"/>
          </a:p>
        </p:txBody>
      </p:sp>
      <p:sp>
        <p:nvSpPr>
          <p:cNvPr id="3" name="Fußzeilenplatzhalter 2"/>
          <p:cNvSpPr>
            <a:spLocks noGrp="1"/>
          </p:cNvSpPr>
          <p:nvPr>
            <p:ph type="ftr" sz="quarter" idx="10"/>
          </p:nvPr>
        </p:nvSpPr>
        <p:spPr/>
        <p:txBody>
          <a:bodyPr/>
          <a:lstStyle/>
          <a:p>
            <a:r>
              <a:rPr lang="de-CH"/>
              <a:t>stat@sbb.ch 18.11.2020</a:t>
            </a:r>
          </a:p>
        </p:txBody>
      </p:sp>
      <p:sp>
        <p:nvSpPr>
          <p:cNvPr id="4" name="Foliennummernplatzhalter 3"/>
          <p:cNvSpPr>
            <a:spLocks noGrp="1"/>
          </p:cNvSpPr>
          <p:nvPr>
            <p:ph type="sldNum" sz="quarter" idx="11"/>
          </p:nvPr>
        </p:nvSpPr>
        <p:spPr/>
        <p:txBody>
          <a:bodyPr/>
          <a:lstStyle/>
          <a:p>
            <a:fld id="{5E115662-413A-4888-B9BC-797CDE14544F}" type="slidenum">
              <a:rPr lang="de-CH" smtClean="0"/>
              <a:pPr/>
              <a:t>‹Nr.›</a:t>
            </a:fld>
            <a:endParaRPr lang="de-CH"/>
          </a:p>
        </p:txBody>
      </p:sp>
      <p:sp>
        <p:nvSpPr>
          <p:cNvPr id="7" name="Textplatzhalter 6"/>
          <p:cNvSpPr>
            <a:spLocks noGrp="1"/>
          </p:cNvSpPr>
          <p:nvPr>
            <p:ph type="body" sz="quarter" idx="12" hasCustomPrompt="1"/>
          </p:nvPr>
        </p:nvSpPr>
        <p:spPr>
          <a:xfrm>
            <a:off x="4622400" y="1509183"/>
            <a:ext cx="7137600" cy="5078400"/>
          </a:xfrm>
        </p:spPr>
        <p:txBody>
          <a:bodyPr/>
          <a:lstStyle>
            <a:lvl2pPr marL="723882" indent="-368291">
              <a:defRPr/>
            </a:lvl2pPr>
          </a:lstStyle>
          <a:p>
            <a:pPr lvl="0"/>
            <a:r>
              <a:rPr lang="de-DE" noProof="0"/>
              <a:t>Text durch Klicken hinzufügen</a:t>
            </a:r>
          </a:p>
          <a:p>
            <a:pPr lvl="1"/>
            <a:r>
              <a:rPr lang="de-DE"/>
              <a:t>Zweite Ebene</a:t>
            </a:r>
          </a:p>
          <a:p>
            <a:pPr lvl="2"/>
            <a:r>
              <a:rPr lang="de-DE"/>
              <a:t>Dritte Ebene</a:t>
            </a:r>
          </a:p>
          <a:p>
            <a:pPr lvl="3"/>
            <a:r>
              <a:rPr lang="de-DE"/>
              <a:t>Vierte Ebene</a:t>
            </a:r>
          </a:p>
          <a:p>
            <a:pPr lvl="4"/>
            <a:r>
              <a:rPr lang="de-DE"/>
              <a:t>Fünfte Ebene</a:t>
            </a:r>
            <a:endParaRPr lang="de-CH"/>
          </a:p>
        </p:txBody>
      </p:sp>
      <p:sp>
        <p:nvSpPr>
          <p:cNvPr id="9" name="Bildplatzhalter 8"/>
          <p:cNvSpPr>
            <a:spLocks noGrp="1"/>
          </p:cNvSpPr>
          <p:nvPr>
            <p:ph type="pic" sz="quarter" idx="13" hasCustomPrompt="1"/>
          </p:nvPr>
        </p:nvSpPr>
        <p:spPr>
          <a:xfrm>
            <a:off x="0" y="1508786"/>
            <a:ext cx="4416000" cy="5088467"/>
          </a:xfrm>
        </p:spPr>
        <p:txBody>
          <a:bodyPr anchor="ctr" anchorCtr="1"/>
          <a:lstStyle>
            <a:lvl1pPr marL="0" indent="0" algn="ctr">
              <a:buNone/>
              <a:defRPr/>
            </a:lvl1pPr>
          </a:lstStyle>
          <a:p>
            <a:r>
              <a:rPr lang="de-CH"/>
              <a:t>Klicken Sie hier, um ein Bild einzufügen</a:t>
            </a:r>
          </a:p>
        </p:txBody>
      </p:sp>
      <p:pic>
        <p:nvPicPr>
          <p:cNvPr id="8" name="Logo_SBB_Symbol">
            <a:extLst>
              <a:ext uri="{FF2B5EF4-FFF2-40B4-BE49-F238E27FC236}">
                <a16:creationId xmlns:a16="http://schemas.microsoft.com/office/drawing/2014/main" id="{3CEA8AC4-6E4B-49CB-8DA7-6A86A278B63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69793" y="425021"/>
            <a:ext cx="942472" cy="311193"/>
          </a:xfrm>
          <a:prstGeom prst="rect">
            <a:avLst/>
          </a:prstGeom>
        </p:spPr>
      </p:pic>
    </p:spTree>
    <p:extLst>
      <p:ext uri="{BB962C8B-B14F-4D97-AF65-F5344CB8AC3E}">
        <p14:creationId xmlns:p14="http://schemas.microsoft.com/office/powerpoint/2010/main" val="13425923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image" Target="../media/image10.emf"/><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image" Target="../media/image9.emf"/><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theme" Target="../theme/theme2.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image" Target="../media/image10.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image" Target="../media/image9.emf"/><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theme" Target="../theme/theme3.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8F61328A-DD5A-4376-9C6D-FC96B364189B}"/>
              </a:ext>
            </a:extLst>
          </p:cNvPr>
          <p:cNvGraphicFramePr>
            <a:graphicFrameLocks noChangeAspect="1"/>
          </p:cNvGraphicFramePr>
          <p:nvPr userDrawn="1">
            <p:custDataLst>
              <p:tags r:id="rId17"/>
            </p:custDataLst>
            <p:extLst>
              <p:ext uri="{D42A27DB-BD31-4B8C-83A1-F6EECF244321}">
                <p14:modId xmlns:p14="http://schemas.microsoft.com/office/powerpoint/2010/main" val="72584447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18" imgW="416" imgH="416" progId="TCLayout.ActiveDocument.1">
                  <p:embed/>
                </p:oleObj>
              </mc:Choice>
              <mc:Fallback>
                <p:oleObj name="think-cell Folie" r:id="rId18" imgW="416" imgH="416" progId="TCLayout.ActiveDocument.1">
                  <p:embed/>
                  <p:pic>
                    <p:nvPicPr>
                      <p:cNvPr id="2" name="Objekt 1" hidden="1">
                        <a:extLst>
                          <a:ext uri="{FF2B5EF4-FFF2-40B4-BE49-F238E27FC236}">
                            <a16:creationId xmlns:a16="http://schemas.microsoft.com/office/drawing/2014/main" id="{8F61328A-DD5A-4376-9C6D-FC96B364189B}"/>
                          </a:ext>
                        </a:extLst>
                      </p:cNvPr>
                      <p:cNvPicPr/>
                      <p:nvPr/>
                    </p:nvPicPr>
                    <p:blipFill>
                      <a:blip r:embed="rId19"/>
                      <a:stretch>
                        <a:fillRect/>
                      </a:stretch>
                    </p:blipFill>
                    <p:spPr>
                      <a:xfrm>
                        <a:off x="2118" y="2118"/>
                        <a:ext cx="2117" cy="2117"/>
                      </a:xfrm>
                      <a:prstGeom prst="rect">
                        <a:avLst/>
                      </a:prstGeom>
                    </p:spPr>
                  </p:pic>
                </p:oleObj>
              </mc:Fallback>
            </mc:AlternateContent>
          </a:graphicData>
        </a:graphic>
      </p:graphicFrame>
      <p:sp>
        <p:nvSpPr>
          <p:cNvPr id="5" name="Footer Placeholder 4"/>
          <p:cNvSpPr>
            <a:spLocks noGrp="1"/>
          </p:cNvSpPr>
          <p:nvPr>
            <p:ph type="ftr" sz="quarter" idx="3"/>
          </p:nvPr>
        </p:nvSpPr>
        <p:spPr>
          <a:xfrm>
            <a:off x="720000" y="6595200"/>
            <a:ext cx="10689600" cy="262800"/>
          </a:xfrm>
          <a:prstGeom prst="rect">
            <a:avLst/>
          </a:prstGeom>
        </p:spPr>
        <p:txBody>
          <a:bodyPr vert="horz" wrap="square" lIns="0" tIns="46800" rIns="0" bIns="46800" rtlCol="0" anchor="t" anchorCtr="0">
            <a:noAutofit/>
          </a:bodyPr>
          <a:lstStyle>
            <a:lvl1pPr algn="r">
              <a:defRPr sz="800">
                <a:solidFill>
                  <a:srgbClr val="000000"/>
                </a:solidFill>
                <a:latin typeface="Arial" pitchFamily="34" charset="0"/>
                <a:cs typeface="Arial" pitchFamily="34" charset="0"/>
              </a:defRPr>
            </a:lvl1pPr>
          </a:lstStyle>
          <a:p>
            <a:r>
              <a:rPr lang="de-CH"/>
              <a:t>stat@sbb.ch 18.11.2020</a:t>
            </a:r>
          </a:p>
        </p:txBody>
      </p:sp>
      <p:sp>
        <p:nvSpPr>
          <p:cNvPr id="6" name="Slide Number Placeholder 5"/>
          <p:cNvSpPr>
            <a:spLocks noGrp="1"/>
          </p:cNvSpPr>
          <p:nvPr>
            <p:ph type="sldNum" sz="quarter" idx="4"/>
          </p:nvPr>
        </p:nvSpPr>
        <p:spPr>
          <a:xfrm>
            <a:off x="11443200" y="6595200"/>
            <a:ext cx="316800" cy="262800"/>
          </a:xfrm>
          <a:prstGeom prst="rect">
            <a:avLst/>
          </a:prstGeom>
        </p:spPr>
        <p:txBody>
          <a:bodyPr vert="horz" wrap="square" lIns="0" tIns="46800" rIns="0" bIns="46800" rtlCol="0" anchor="t" anchorCtr="0">
            <a:noAutofit/>
          </a:bodyPr>
          <a:lstStyle>
            <a:lvl1pPr algn="r">
              <a:defRPr sz="800" b="1">
                <a:solidFill>
                  <a:srgbClr val="000000"/>
                </a:solidFill>
                <a:latin typeface="Arial" pitchFamily="34" charset="0"/>
                <a:cs typeface="Arial" pitchFamily="34" charset="0"/>
              </a:defRPr>
            </a:lvl1pPr>
          </a:lstStyle>
          <a:p>
            <a:fld id="{5E115662-413A-4888-B9BC-797CDE14544F}" type="slidenum">
              <a:rPr lang="de-CH" smtClean="0"/>
              <a:pPr/>
              <a:t>‹Nr.›</a:t>
            </a:fld>
            <a:endParaRPr lang="de-CH"/>
          </a:p>
        </p:txBody>
      </p:sp>
      <p:sp>
        <p:nvSpPr>
          <p:cNvPr id="3" name="Titelplatzhalter 2"/>
          <p:cNvSpPr>
            <a:spLocks noGrp="1"/>
          </p:cNvSpPr>
          <p:nvPr>
            <p:ph type="title"/>
          </p:nvPr>
        </p:nvSpPr>
        <p:spPr>
          <a:xfrm>
            <a:off x="720000" y="835200"/>
            <a:ext cx="11040200" cy="494400"/>
          </a:xfrm>
          <a:prstGeom prst="rect">
            <a:avLst/>
          </a:prstGeom>
        </p:spPr>
        <p:txBody>
          <a:bodyPr vert="horz" wrap="none" lIns="0" tIns="0" rIns="0" bIns="0" rtlCol="0" anchor="b" anchorCtr="0">
            <a:noAutofit/>
          </a:bodyPr>
          <a:lstStyle/>
          <a:p>
            <a:r>
              <a:rPr lang="de-DE"/>
              <a:t>Titelmasterformat durch Klicken bearbeiten</a:t>
            </a:r>
            <a:endParaRPr lang="de-CH"/>
          </a:p>
        </p:txBody>
      </p:sp>
      <p:sp>
        <p:nvSpPr>
          <p:cNvPr id="4" name="Textplatzhalter 3"/>
          <p:cNvSpPr>
            <a:spLocks noGrp="1"/>
          </p:cNvSpPr>
          <p:nvPr>
            <p:ph type="body" idx="1"/>
          </p:nvPr>
        </p:nvSpPr>
        <p:spPr>
          <a:xfrm>
            <a:off x="720000" y="1512000"/>
            <a:ext cx="11040000" cy="50784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3077586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sldNum="0" hdr="0" dt="0"/>
  <p:txStyles>
    <p:titleStyle>
      <a:lvl1pPr algn="l" defTabSz="1088406" rtl="0" eaLnBrk="1" latinLnBrk="0" hangingPunct="1">
        <a:spcBef>
          <a:spcPct val="0"/>
        </a:spcBef>
        <a:buNone/>
        <a:defRPr sz="3200" b="1" kern="1200">
          <a:solidFill>
            <a:schemeClr val="tx1"/>
          </a:solidFill>
          <a:latin typeface="Arial" pitchFamily="34" charset="0"/>
          <a:ea typeface="+mj-ea"/>
          <a:cs typeface="Arial" pitchFamily="34" charset="0"/>
        </a:defRPr>
      </a:lvl1pPr>
    </p:titleStyle>
    <p:bodyStyle>
      <a:lvl1pPr marL="383990" indent="-383990" algn="l" defTabSz="1088406" rtl="0" eaLnBrk="1" latinLnBrk="0" hangingPunct="1">
        <a:lnSpc>
          <a:spcPct val="100000"/>
        </a:lnSpc>
        <a:spcBef>
          <a:spcPts val="800"/>
        </a:spcBef>
        <a:buClr>
          <a:srgbClr val="FF0000"/>
        </a:buClr>
        <a:buSzPct val="80000"/>
        <a:buFont typeface="Wingdings 3" pitchFamily="18" charset="2"/>
        <a:buChar char=""/>
        <a:defRPr lang="de-DE" sz="2667" kern="1200" noProof="0" dirty="0" smtClean="0">
          <a:solidFill>
            <a:schemeClr val="tx1"/>
          </a:solidFill>
          <a:latin typeface="Arial" pitchFamily="34" charset="0"/>
          <a:ea typeface="+mn-ea"/>
          <a:cs typeface="Arial" pitchFamily="34" charset="0"/>
        </a:defRPr>
      </a:lvl1pPr>
      <a:lvl2pPr marL="723882" indent="-370408" algn="l" defTabSz="1088406" rtl="0" eaLnBrk="1" latinLnBrk="0" hangingPunct="1">
        <a:lnSpc>
          <a:spcPct val="100000"/>
        </a:lnSpc>
        <a:spcBef>
          <a:spcPts val="800"/>
        </a:spcBef>
        <a:buClr>
          <a:srgbClr val="000000"/>
        </a:buClr>
        <a:buSzPct val="80000"/>
        <a:buFont typeface="Arial" pitchFamily="34" charset="0"/>
        <a:buChar char="•"/>
        <a:defRPr lang="de-DE" sz="2667" kern="1200" noProof="0" dirty="0" smtClean="0">
          <a:solidFill>
            <a:schemeClr val="tx1"/>
          </a:solidFill>
          <a:latin typeface="Arial" pitchFamily="34" charset="0"/>
          <a:ea typeface="+mn-ea"/>
          <a:cs typeface="Arial" pitchFamily="34" charset="0"/>
        </a:defRPr>
      </a:lvl2pPr>
      <a:lvl3pPr marL="1077357" indent="-353475" algn="l" defTabSz="1088406" rtl="0" eaLnBrk="1" latinLnBrk="0" hangingPunct="1">
        <a:lnSpc>
          <a:spcPct val="100000"/>
        </a:lnSpc>
        <a:spcBef>
          <a:spcPts val="800"/>
        </a:spcBef>
        <a:buClr>
          <a:schemeClr val="tx1"/>
        </a:buClr>
        <a:buSzPct val="90000"/>
        <a:buFont typeface="Symbol" pitchFamily="18" charset="2"/>
        <a:buChar char="-"/>
        <a:defRPr lang="de-DE" sz="2667" kern="1200" noProof="0" dirty="0" smtClean="0">
          <a:solidFill>
            <a:schemeClr val="tx1"/>
          </a:solidFill>
          <a:latin typeface="Arial" pitchFamily="34" charset="0"/>
          <a:ea typeface="+mn-ea"/>
          <a:cs typeface="Arial" pitchFamily="34" charset="0"/>
        </a:defRPr>
      </a:lvl3pPr>
      <a:lvl4pPr marL="1430831" indent="-353475" algn="l" defTabSz="1088406" rtl="0" eaLnBrk="1" latinLnBrk="0" hangingPunct="1">
        <a:lnSpc>
          <a:spcPct val="100000"/>
        </a:lnSpc>
        <a:spcBef>
          <a:spcPts val="800"/>
        </a:spcBef>
        <a:buClr>
          <a:srgbClr val="2D327D"/>
        </a:buClr>
        <a:buSzPct val="90000"/>
        <a:buFont typeface="Symbol" panose="05050102010706020507" pitchFamily="18" charset="2"/>
        <a:buChar char="-"/>
        <a:defRPr lang="de-DE" sz="2667" kern="1200" noProof="0" dirty="0" smtClean="0">
          <a:solidFill>
            <a:schemeClr val="tx1"/>
          </a:solidFill>
          <a:latin typeface="Arial" pitchFamily="34" charset="0"/>
          <a:ea typeface="+mn-ea"/>
          <a:cs typeface="Arial" pitchFamily="34" charset="0"/>
        </a:defRPr>
      </a:lvl4pPr>
      <a:lvl5pPr marL="1786422" indent="-355591" algn="l" defTabSz="1088406" rtl="0" eaLnBrk="1" latinLnBrk="0" hangingPunct="1">
        <a:lnSpc>
          <a:spcPct val="100000"/>
        </a:lnSpc>
        <a:spcBef>
          <a:spcPts val="800"/>
        </a:spcBef>
        <a:buClr>
          <a:srgbClr val="2D327D"/>
        </a:buClr>
        <a:buSzPct val="90000"/>
        <a:buFont typeface="Symbol" panose="05050102010706020507" pitchFamily="18" charset="2"/>
        <a:buChar char="-"/>
        <a:defRPr lang="de-CH" sz="2667" kern="1200" noProof="0" dirty="0">
          <a:solidFill>
            <a:schemeClr val="tx1"/>
          </a:solidFill>
          <a:latin typeface="Arial" pitchFamily="34" charset="0"/>
          <a:ea typeface="+mn-ea"/>
          <a:cs typeface="Arial" pitchFamily="34" charset="0"/>
        </a:defRPr>
      </a:lvl5pPr>
      <a:lvl6pPr marL="2993113"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317"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1519"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5720" indent="-272101" algn="l" defTabSz="108840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de-DE"/>
      </a:defPPr>
      <a:lvl1pPr marL="0" algn="l" defTabSz="1088406" rtl="0" eaLnBrk="1" latinLnBrk="0" hangingPunct="1">
        <a:defRPr sz="2133" kern="1200">
          <a:solidFill>
            <a:schemeClr val="tx1"/>
          </a:solidFill>
          <a:latin typeface="+mn-lt"/>
          <a:ea typeface="+mn-ea"/>
          <a:cs typeface="+mn-cs"/>
        </a:defRPr>
      </a:lvl1pPr>
      <a:lvl2pPr marL="544202" algn="l" defTabSz="1088406" rtl="0" eaLnBrk="1" latinLnBrk="0" hangingPunct="1">
        <a:defRPr sz="2133" kern="1200">
          <a:solidFill>
            <a:schemeClr val="tx1"/>
          </a:solidFill>
          <a:latin typeface="+mn-lt"/>
          <a:ea typeface="+mn-ea"/>
          <a:cs typeface="+mn-cs"/>
        </a:defRPr>
      </a:lvl2pPr>
      <a:lvl3pPr marL="1088406" algn="l" defTabSz="1088406" rtl="0" eaLnBrk="1" latinLnBrk="0" hangingPunct="1">
        <a:defRPr sz="2133" kern="1200">
          <a:solidFill>
            <a:schemeClr val="tx1"/>
          </a:solidFill>
          <a:latin typeface="+mn-lt"/>
          <a:ea typeface="+mn-ea"/>
          <a:cs typeface="+mn-cs"/>
        </a:defRPr>
      </a:lvl3pPr>
      <a:lvl4pPr marL="1632609" algn="l" defTabSz="1088406" rtl="0" eaLnBrk="1" latinLnBrk="0" hangingPunct="1">
        <a:defRPr sz="2133" kern="1200">
          <a:solidFill>
            <a:schemeClr val="tx1"/>
          </a:solidFill>
          <a:latin typeface="+mn-lt"/>
          <a:ea typeface="+mn-ea"/>
          <a:cs typeface="+mn-cs"/>
        </a:defRPr>
      </a:lvl4pPr>
      <a:lvl5pPr marL="2176810" algn="l" defTabSz="1088406" rtl="0" eaLnBrk="1" latinLnBrk="0" hangingPunct="1">
        <a:defRPr sz="2133" kern="1200">
          <a:solidFill>
            <a:schemeClr val="tx1"/>
          </a:solidFill>
          <a:latin typeface="+mn-lt"/>
          <a:ea typeface="+mn-ea"/>
          <a:cs typeface="+mn-cs"/>
        </a:defRPr>
      </a:lvl5pPr>
      <a:lvl6pPr marL="2721011" algn="l" defTabSz="1088406" rtl="0" eaLnBrk="1" latinLnBrk="0" hangingPunct="1">
        <a:defRPr sz="2133" kern="1200">
          <a:solidFill>
            <a:schemeClr val="tx1"/>
          </a:solidFill>
          <a:latin typeface="+mn-lt"/>
          <a:ea typeface="+mn-ea"/>
          <a:cs typeface="+mn-cs"/>
        </a:defRPr>
      </a:lvl6pPr>
      <a:lvl7pPr marL="3265214" algn="l" defTabSz="1088406" rtl="0" eaLnBrk="1" latinLnBrk="0" hangingPunct="1">
        <a:defRPr sz="2133" kern="1200">
          <a:solidFill>
            <a:schemeClr val="tx1"/>
          </a:solidFill>
          <a:latin typeface="+mn-lt"/>
          <a:ea typeface="+mn-ea"/>
          <a:cs typeface="+mn-cs"/>
        </a:defRPr>
      </a:lvl7pPr>
      <a:lvl8pPr marL="3809417" algn="l" defTabSz="1088406" rtl="0" eaLnBrk="1" latinLnBrk="0" hangingPunct="1">
        <a:defRPr sz="2133" kern="1200">
          <a:solidFill>
            <a:schemeClr val="tx1"/>
          </a:solidFill>
          <a:latin typeface="+mn-lt"/>
          <a:ea typeface="+mn-ea"/>
          <a:cs typeface="+mn-cs"/>
        </a:defRPr>
      </a:lvl8pPr>
      <a:lvl9pPr marL="4353619" algn="l" defTabSz="1088406" rtl="0" eaLnBrk="1" latinLnBrk="0" hangingPunct="1">
        <a:defRPr sz="21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87488" y="493295"/>
            <a:ext cx="9220200" cy="848226"/>
          </a:xfrm>
          <a:prstGeom prst="rect">
            <a:avLst/>
          </a:prstGeom>
        </p:spPr>
        <p:txBody>
          <a:bodyPr vert="horz" lIns="0" tIns="0" rIns="0" bIns="0" rtlCol="0" anchor="t">
            <a:noAutofit/>
          </a:bodyPr>
          <a:lstStyle/>
          <a:p>
            <a:r>
              <a:rPr lang="de-CH"/>
              <a:t>Titel hinzufügen.</a:t>
            </a:r>
          </a:p>
        </p:txBody>
      </p:sp>
      <p:sp>
        <p:nvSpPr>
          <p:cNvPr id="3" name="Textplatzhalter 2"/>
          <p:cNvSpPr>
            <a:spLocks noGrp="1"/>
          </p:cNvSpPr>
          <p:nvPr>
            <p:ph type="body" idx="1"/>
          </p:nvPr>
        </p:nvSpPr>
        <p:spPr>
          <a:xfrm>
            <a:off x="1487488" y="1949116"/>
            <a:ext cx="9220200" cy="4468216"/>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a:p>
            <a:pPr lvl="6"/>
            <a:r>
              <a:rPr lang="de-CH" noProof="0"/>
              <a:t>Siebte Ebene</a:t>
            </a:r>
          </a:p>
          <a:p>
            <a:pPr lvl="7"/>
            <a:r>
              <a:rPr lang="de-CH" sz="2800" noProof="0"/>
              <a:t>Achte Ebene</a:t>
            </a:r>
          </a:p>
          <a:p>
            <a:pPr lvl="8"/>
            <a:r>
              <a:rPr lang="de-CH" noProof="0"/>
              <a:t>Neunte Ebene</a:t>
            </a:r>
          </a:p>
          <a:p>
            <a:pPr lvl="7"/>
            <a:endParaRPr lang="de-CH" noProof="0"/>
          </a:p>
        </p:txBody>
      </p:sp>
      <p:sp>
        <p:nvSpPr>
          <p:cNvPr id="4" name="Datumsplatzhalter 3"/>
          <p:cNvSpPr>
            <a:spLocks noGrp="1"/>
          </p:cNvSpPr>
          <p:nvPr>
            <p:ph type="dt" sz="half" idx="2"/>
          </p:nvPr>
        </p:nvSpPr>
        <p:spPr>
          <a:xfrm>
            <a:off x="550862" y="6484293"/>
            <a:ext cx="828614" cy="127938"/>
          </a:xfrm>
          <a:prstGeom prst="rect">
            <a:avLst/>
          </a:prstGeom>
        </p:spPr>
        <p:txBody>
          <a:bodyPr vert="horz" lIns="0" tIns="0" rIns="0" bIns="0" rtlCol="0" anchor="t" anchorCtr="0"/>
          <a:lstStyle>
            <a:lvl1pPr algn="l">
              <a:defRPr sz="800" spc="10" baseline="0">
                <a:solidFill>
                  <a:schemeClr val="tx2"/>
                </a:solidFill>
              </a:defRPr>
            </a:lvl1pPr>
          </a:lstStyle>
          <a:p>
            <a:fld id="{80211CA0-77D7-4CC2-8F9F-61D424A519D7}" type="datetimeyyyy">
              <a:rPr lang="de-CH" smtClean="0"/>
              <a:t>2025</a:t>
            </a:fld>
            <a:endParaRPr lang="de-CH"/>
          </a:p>
        </p:txBody>
      </p:sp>
      <p:sp>
        <p:nvSpPr>
          <p:cNvPr id="5" name="Fußzeilenplatzhalter 4"/>
          <p:cNvSpPr>
            <a:spLocks noGrp="1"/>
          </p:cNvSpPr>
          <p:nvPr>
            <p:ph type="ftr" sz="quarter" idx="3"/>
          </p:nvPr>
        </p:nvSpPr>
        <p:spPr>
          <a:xfrm>
            <a:off x="1489460" y="6484293"/>
            <a:ext cx="9218228" cy="127938"/>
          </a:xfrm>
          <a:prstGeom prst="rect">
            <a:avLst/>
          </a:prstGeom>
        </p:spPr>
        <p:txBody>
          <a:bodyPr vert="horz" lIns="0" tIns="0" rIns="0" bIns="0" rtlCol="0" anchor="t" anchorCtr="0"/>
          <a:lstStyle>
            <a:lvl1pPr algn="l">
              <a:defRPr sz="800" spc="10" baseline="0">
                <a:solidFill>
                  <a:schemeClr val="tx2"/>
                </a:solidFill>
              </a:defRPr>
            </a:lvl1pPr>
          </a:lstStyle>
          <a:p>
            <a:r>
              <a:rPr lang="de-DE"/>
              <a:t>SBB Division Abteilung und Bereich</a:t>
            </a:r>
            <a:endParaRPr lang="de-CH"/>
          </a:p>
        </p:txBody>
      </p:sp>
      <p:sp>
        <p:nvSpPr>
          <p:cNvPr id="6" name="Foliennummernplatzhalter 5"/>
          <p:cNvSpPr>
            <a:spLocks noGrp="1"/>
          </p:cNvSpPr>
          <p:nvPr>
            <p:ph type="sldNum" sz="quarter" idx="4"/>
          </p:nvPr>
        </p:nvSpPr>
        <p:spPr>
          <a:xfrm>
            <a:off x="10895839" y="6484293"/>
            <a:ext cx="745299" cy="127938"/>
          </a:xfrm>
          <a:prstGeom prst="rect">
            <a:avLst/>
          </a:prstGeom>
        </p:spPr>
        <p:txBody>
          <a:bodyPr vert="horz" lIns="0" tIns="0" rIns="0" bIns="0" rtlCol="0" anchor="t" anchorCtr="0"/>
          <a:lstStyle>
            <a:lvl1pPr algn="r">
              <a:defRPr sz="800" spc="10" baseline="0">
                <a:solidFill>
                  <a:schemeClr val="tx2"/>
                </a:solidFill>
              </a:defRPr>
            </a:lvl1pPr>
          </a:lstStyle>
          <a:p>
            <a:fld id="{442AD375-037F-43D0-B059-5172DA06796A}" type="slidenum">
              <a:rPr lang="de-CH" smtClean="0"/>
              <a:pPr/>
              <a:t>‹Nr.›</a:t>
            </a:fld>
            <a:endParaRPr lang="de-CH"/>
          </a:p>
        </p:txBody>
      </p:sp>
      <p:pic>
        <p:nvPicPr>
          <p:cNvPr id="13" name="Grafik 12">
            <a:extLst>
              <a:ext uri="{FF2B5EF4-FFF2-40B4-BE49-F238E27FC236}">
                <a16:creationId xmlns:a16="http://schemas.microsoft.com/office/drawing/2014/main" id="{B0EBCC42-C47E-42C1-A885-21EC5F328973}"/>
              </a:ext>
            </a:extLst>
          </p:cNvPr>
          <p:cNvPicPr>
            <a:picLocks noChangeAspect="1"/>
          </p:cNvPicPr>
          <p:nvPr userDrawn="1"/>
        </p:nvPicPr>
        <p:blipFill>
          <a:blip r:embed="rId37" cstate="print">
            <a:extLst>
              <a:ext uri="{28A0092B-C50C-407E-A947-70E740481C1C}">
                <a14:useLocalDpi xmlns:a14="http://schemas.microsoft.com/office/drawing/2010/main"/>
              </a:ext>
            </a:extLst>
          </a:blip>
          <a:stretch>
            <a:fillRect/>
          </a:stretch>
        </p:blipFill>
        <p:spPr>
          <a:xfrm>
            <a:off x="11087099" y="288303"/>
            <a:ext cx="561183" cy="197422"/>
          </a:xfrm>
          <a:prstGeom prst="rect">
            <a:avLst/>
          </a:prstGeom>
        </p:spPr>
      </p:pic>
    </p:spTree>
    <p:extLst>
      <p:ext uri="{BB962C8B-B14F-4D97-AF65-F5344CB8AC3E}">
        <p14:creationId xmlns:p14="http://schemas.microsoft.com/office/powerpoint/2010/main" val="300782164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1" r:id="rId25"/>
    <p:sldLayoutId id="2147483702" r:id="rId26"/>
    <p:sldLayoutId id="2147483703" r:id="rId27"/>
    <p:sldLayoutId id="2147483704" r:id="rId28"/>
    <p:sldLayoutId id="2147483705" r:id="rId29"/>
    <p:sldLayoutId id="2147483706" r:id="rId30"/>
    <p:sldLayoutId id="2147483707" r:id="rId31"/>
    <p:sldLayoutId id="2147483708" r:id="rId32"/>
    <p:sldLayoutId id="2147483709" r:id="rId33"/>
    <p:sldLayoutId id="2147483710" r:id="rId34"/>
    <p:sldLayoutId id="2147483711" r:id="rId35"/>
  </p:sldLayoutIdLst>
  <p:hf hdr="0" ftr="0" dt="0"/>
  <p:txStyles>
    <p:titleStyle>
      <a:lvl1pPr algn="l" defTabSz="914400" rtl="0" eaLnBrk="1" latinLnBrk="0" hangingPunct="1">
        <a:lnSpc>
          <a:spcPct val="100000"/>
        </a:lnSpc>
        <a:spcBef>
          <a:spcPct val="0"/>
        </a:spcBef>
        <a:buNone/>
        <a:defRPr sz="2800" kern="1200" spc="60" baseline="0">
          <a:solidFill>
            <a:schemeClr val="accent3"/>
          </a:solidFill>
          <a:latin typeface="+mj-lt"/>
          <a:ea typeface="+mj-ea"/>
          <a:cs typeface="+mj-cs"/>
        </a:defRPr>
      </a:lvl1pPr>
    </p:titleStyle>
    <p:bodyStyle>
      <a:lvl1pPr marL="0" indent="0" algn="l" defTabSz="914400" rtl="0" eaLnBrk="1" latinLnBrk="0" hangingPunct="1">
        <a:lnSpc>
          <a:spcPct val="100000"/>
        </a:lnSpc>
        <a:spcBef>
          <a:spcPts val="0"/>
        </a:spcBef>
        <a:buFont typeface="+mj-lt"/>
        <a:buNone/>
        <a:defRPr sz="2800" kern="1200">
          <a:solidFill>
            <a:schemeClr val="tx2"/>
          </a:solidFill>
          <a:latin typeface="+mn-lt"/>
          <a:ea typeface="+mn-ea"/>
          <a:cs typeface="+mn-cs"/>
        </a:defRPr>
      </a:lvl1pPr>
      <a:lvl2pPr marL="36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2pPr>
      <a:lvl3pPr marL="72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3pPr>
      <a:lvl4pPr marL="108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4pPr>
      <a:lvl5pPr marL="1440000" indent="-360000" algn="l" defTabSz="914400" rtl="0" eaLnBrk="1" latinLnBrk="0" hangingPunct="1">
        <a:lnSpc>
          <a:spcPct val="100000"/>
        </a:lnSpc>
        <a:spcBef>
          <a:spcPts val="0"/>
        </a:spcBef>
        <a:buClr>
          <a:schemeClr val="accent3"/>
        </a:buClr>
        <a:buSzPct val="100000"/>
        <a:buFont typeface="SBB Light" pitchFamily="2" charset="0"/>
        <a:buChar char="–"/>
        <a:defRPr sz="2800" kern="1200">
          <a:solidFill>
            <a:schemeClr val="tx2"/>
          </a:solidFill>
          <a:latin typeface="+mn-lt"/>
          <a:ea typeface="+mn-ea"/>
          <a:cs typeface="+mn-cs"/>
        </a:defRPr>
      </a:lvl5pPr>
      <a:lvl6pPr marL="360000" indent="-360000" algn="l" defTabSz="914400" rtl="0" eaLnBrk="1" latinLnBrk="0" hangingPunct="1">
        <a:lnSpc>
          <a:spcPct val="90000"/>
        </a:lnSpc>
        <a:spcBef>
          <a:spcPts val="500"/>
        </a:spcBef>
        <a:buFontTx/>
        <a:buBlip>
          <a:blip r:embed="rId38"/>
        </a:buBlip>
        <a:defRPr sz="2800" kern="1200">
          <a:solidFill>
            <a:schemeClr val="tx2"/>
          </a:solidFill>
          <a:latin typeface="+mn-lt"/>
          <a:ea typeface="+mn-ea"/>
          <a:cs typeface="+mn-cs"/>
        </a:defRPr>
      </a:lvl6pPr>
      <a:lvl7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7pPr>
      <a:lvl8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8pPr>
      <a:lvl9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87488" y="493295"/>
            <a:ext cx="9220200" cy="848226"/>
          </a:xfrm>
          <a:prstGeom prst="rect">
            <a:avLst/>
          </a:prstGeom>
        </p:spPr>
        <p:txBody>
          <a:bodyPr vert="horz" lIns="0" tIns="0" rIns="0" bIns="0" rtlCol="0" anchor="t">
            <a:noAutofit/>
          </a:bodyPr>
          <a:lstStyle/>
          <a:p>
            <a:r>
              <a:rPr lang="de-CH"/>
              <a:t>Titel hinzufügen.</a:t>
            </a:r>
          </a:p>
        </p:txBody>
      </p:sp>
      <p:sp>
        <p:nvSpPr>
          <p:cNvPr id="3" name="Textplatzhalter 2"/>
          <p:cNvSpPr>
            <a:spLocks noGrp="1"/>
          </p:cNvSpPr>
          <p:nvPr>
            <p:ph type="body" idx="1"/>
          </p:nvPr>
        </p:nvSpPr>
        <p:spPr>
          <a:xfrm>
            <a:off x="1487488" y="1949116"/>
            <a:ext cx="9220200" cy="4468216"/>
          </a:xfrm>
          <a:prstGeom prst="rect">
            <a:avLst/>
          </a:prstGeom>
        </p:spPr>
        <p:txBody>
          <a:bodyPr vert="horz" lIns="0" tIns="0" rIns="0" bIns="0" rtlCol="0">
            <a:noAutofit/>
          </a:bodyPr>
          <a:lstStyle/>
          <a:p>
            <a:pPr lvl="0"/>
            <a:r>
              <a:rPr lang="de-CH" noProof="0"/>
              <a:t>Textmasterformat bearbeiten</a:t>
            </a:r>
          </a:p>
          <a:p>
            <a:pPr lvl="1"/>
            <a:r>
              <a:rPr lang="de-CH" noProof="0"/>
              <a:t>Zweite Ebene</a:t>
            </a:r>
          </a:p>
          <a:p>
            <a:pPr lvl="2"/>
            <a:r>
              <a:rPr lang="de-CH" noProof="0"/>
              <a:t>Dritte Ebene</a:t>
            </a:r>
          </a:p>
          <a:p>
            <a:pPr lvl="3"/>
            <a:r>
              <a:rPr lang="de-CH" noProof="0"/>
              <a:t>Vierte Ebene</a:t>
            </a:r>
          </a:p>
          <a:p>
            <a:pPr lvl="4"/>
            <a:r>
              <a:rPr lang="de-CH" noProof="0"/>
              <a:t>Fünfte Ebene</a:t>
            </a:r>
          </a:p>
          <a:p>
            <a:pPr lvl="5"/>
            <a:r>
              <a:rPr lang="de-CH" noProof="0"/>
              <a:t>Sechste Ebene</a:t>
            </a:r>
          </a:p>
          <a:p>
            <a:pPr lvl="6"/>
            <a:r>
              <a:rPr lang="de-CH" noProof="0"/>
              <a:t>Siebte Ebene</a:t>
            </a:r>
          </a:p>
          <a:p>
            <a:pPr lvl="7"/>
            <a:r>
              <a:rPr lang="de-CH" sz="2800" noProof="0"/>
              <a:t>Achte Ebene</a:t>
            </a:r>
          </a:p>
          <a:p>
            <a:pPr lvl="8"/>
            <a:r>
              <a:rPr lang="de-CH" noProof="0"/>
              <a:t>Neunte Ebene</a:t>
            </a:r>
          </a:p>
          <a:p>
            <a:pPr lvl="7"/>
            <a:endParaRPr lang="de-CH" noProof="0"/>
          </a:p>
        </p:txBody>
      </p:sp>
      <p:sp>
        <p:nvSpPr>
          <p:cNvPr id="4" name="Datumsplatzhalter 3"/>
          <p:cNvSpPr>
            <a:spLocks noGrp="1"/>
          </p:cNvSpPr>
          <p:nvPr>
            <p:ph type="dt" sz="half" idx="2"/>
          </p:nvPr>
        </p:nvSpPr>
        <p:spPr>
          <a:xfrm>
            <a:off x="550862" y="6484293"/>
            <a:ext cx="828614" cy="127938"/>
          </a:xfrm>
          <a:prstGeom prst="rect">
            <a:avLst/>
          </a:prstGeom>
        </p:spPr>
        <p:txBody>
          <a:bodyPr vert="horz" lIns="0" tIns="0" rIns="0" bIns="0" rtlCol="0" anchor="t" anchorCtr="0"/>
          <a:lstStyle>
            <a:lvl1pPr algn="l">
              <a:defRPr sz="800" spc="10" baseline="0">
                <a:solidFill>
                  <a:schemeClr val="tx2"/>
                </a:solidFill>
              </a:defRPr>
            </a:lvl1pPr>
          </a:lstStyle>
          <a:p>
            <a:fld id="{80211CA0-77D7-4CC2-8F9F-61D424A519D7}" type="datetimeyyyy">
              <a:rPr lang="de-CH" smtClean="0"/>
              <a:t>2025</a:t>
            </a:fld>
            <a:endParaRPr lang="de-CH"/>
          </a:p>
        </p:txBody>
      </p:sp>
      <p:sp>
        <p:nvSpPr>
          <p:cNvPr id="5" name="Fußzeilenplatzhalter 4"/>
          <p:cNvSpPr>
            <a:spLocks noGrp="1"/>
          </p:cNvSpPr>
          <p:nvPr>
            <p:ph type="ftr" sz="quarter" idx="3"/>
          </p:nvPr>
        </p:nvSpPr>
        <p:spPr>
          <a:xfrm>
            <a:off x="1489460" y="6484293"/>
            <a:ext cx="9218228" cy="127938"/>
          </a:xfrm>
          <a:prstGeom prst="rect">
            <a:avLst/>
          </a:prstGeom>
        </p:spPr>
        <p:txBody>
          <a:bodyPr vert="horz" lIns="0" tIns="0" rIns="0" bIns="0" rtlCol="0" anchor="t" anchorCtr="0"/>
          <a:lstStyle>
            <a:lvl1pPr algn="l">
              <a:defRPr sz="800" spc="10" baseline="0">
                <a:solidFill>
                  <a:schemeClr val="tx2"/>
                </a:solidFill>
              </a:defRPr>
            </a:lvl1pPr>
          </a:lstStyle>
          <a:p>
            <a:r>
              <a:rPr lang="de-DE"/>
              <a:t>SBB Division Abteilung und Bereich</a:t>
            </a:r>
            <a:endParaRPr lang="de-CH"/>
          </a:p>
        </p:txBody>
      </p:sp>
      <p:sp>
        <p:nvSpPr>
          <p:cNvPr id="6" name="Foliennummernplatzhalter 5"/>
          <p:cNvSpPr>
            <a:spLocks noGrp="1"/>
          </p:cNvSpPr>
          <p:nvPr>
            <p:ph type="sldNum" sz="quarter" idx="4"/>
          </p:nvPr>
        </p:nvSpPr>
        <p:spPr>
          <a:xfrm>
            <a:off x="10895839" y="6484293"/>
            <a:ext cx="745299" cy="127938"/>
          </a:xfrm>
          <a:prstGeom prst="rect">
            <a:avLst/>
          </a:prstGeom>
        </p:spPr>
        <p:txBody>
          <a:bodyPr vert="horz" lIns="0" tIns="0" rIns="0" bIns="0" rtlCol="0" anchor="t" anchorCtr="0"/>
          <a:lstStyle>
            <a:lvl1pPr algn="r">
              <a:defRPr sz="800" spc="10" baseline="0">
                <a:solidFill>
                  <a:schemeClr val="tx2"/>
                </a:solidFill>
              </a:defRPr>
            </a:lvl1pPr>
          </a:lstStyle>
          <a:p>
            <a:fld id="{442AD375-037F-43D0-B059-5172DA06796A}" type="slidenum">
              <a:rPr lang="de-CH" smtClean="0"/>
              <a:pPr/>
              <a:t>‹Nr.›</a:t>
            </a:fld>
            <a:endParaRPr lang="de-CH"/>
          </a:p>
        </p:txBody>
      </p:sp>
      <p:pic>
        <p:nvPicPr>
          <p:cNvPr id="13" name="Grafik 12">
            <a:extLst>
              <a:ext uri="{FF2B5EF4-FFF2-40B4-BE49-F238E27FC236}">
                <a16:creationId xmlns:a16="http://schemas.microsoft.com/office/drawing/2014/main" id="{B0EBCC42-C47E-42C1-A885-21EC5F328973}"/>
              </a:ext>
            </a:extLst>
          </p:cNvPr>
          <p:cNvPicPr>
            <a:picLocks noChangeAspect="1"/>
          </p:cNvPicPr>
          <p:nvPr userDrawn="1"/>
        </p:nvPicPr>
        <p:blipFill>
          <a:blip r:embed="rId38" cstate="print">
            <a:extLst>
              <a:ext uri="{28A0092B-C50C-407E-A947-70E740481C1C}">
                <a14:useLocalDpi xmlns:a14="http://schemas.microsoft.com/office/drawing/2010/main"/>
              </a:ext>
            </a:extLst>
          </a:blip>
          <a:stretch>
            <a:fillRect/>
          </a:stretch>
        </p:blipFill>
        <p:spPr>
          <a:xfrm>
            <a:off x="11087099" y="288303"/>
            <a:ext cx="561183" cy="197422"/>
          </a:xfrm>
          <a:prstGeom prst="rect">
            <a:avLst/>
          </a:prstGeom>
        </p:spPr>
      </p:pic>
    </p:spTree>
    <p:extLst>
      <p:ext uri="{BB962C8B-B14F-4D97-AF65-F5344CB8AC3E}">
        <p14:creationId xmlns:p14="http://schemas.microsoft.com/office/powerpoint/2010/main" val="24736616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2" r:id="rId20"/>
    <p:sldLayoutId id="2147483733" r:id="rId21"/>
    <p:sldLayoutId id="2147483734" r:id="rId22"/>
    <p:sldLayoutId id="2147483735" r:id="rId23"/>
    <p:sldLayoutId id="2147483736" r:id="rId24"/>
    <p:sldLayoutId id="2147483737" r:id="rId25"/>
    <p:sldLayoutId id="2147483738" r:id="rId26"/>
    <p:sldLayoutId id="2147483739" r:id="rId27"/>
    <p:sldLayoutId id="2147483740" r:id="rId28"/>
    <p:sldLayoutId id="2147483741" r:id="rId29"/>
    <p:sldLayoutId id="2147483742" r:id="rId30"/>
    <p:sldLayoutId id="2147483743" r:id="rId31"/>
    <p:sldLayoutId id="2147483744" r:id="rId32"/>
    <p:sldLayoutId id="2147483745" r:id="rId33"/>
    <p:sldLayoutId id="2147483746" r:id="rId34"/>
    <p:sldLayoutId id="2147483747" r:id="rId35"/>
    <p:sldLayoutId id="2147483748" r:id="rId36"/>
  </p:sldLayoutIdLst>
  <p:hf hdr="0" ftr="0" dt="0"/>
  <p:txStyles>
    <p:titleStyle>
      <a:lvl1pPr algn="l" defTabSz="914400" rtl="0" eaLnBrk="1" latinLnBrk="0" hangingPunct="1">
        <a:lnSpc>
          <a:spcPct val="100000"/>
        </a:lnSpc>
        <a:spcBef>
          <a:spcPct val="0"/>
        </a:spcBef>
        <a:buNone/>
        <a:defRPr sz="2800" kern="1200" spc="60" baseline="0">
          <a:solidFill>
            <a:schemeClr val="accent3"/>
          </a:solidFill>
          <a:latin typeface="+mj-lt"/>
          <a:ea typeface="+mj-ea"/>
          <a:cs typeface="+mj-cs"/>
        </a:defRPr>
      </a:lvl1pPr>
    </p:titleStyle>
    <p:bodyStyle>
      <a:lvl1pPr marL="0" indent="0" algn="l" defTabSz="914400" rtl="0" eaLnBrk="1" latinLnBrk="0" hangingPunct="1">
        <a:lnSpc>
          <a:spcPct val="100000"/>
        </a:lnSpc>
        <a:spcBef>
          <a:spcPts val="0"/>
        </a:spcBef>
        <a:buFont typeface="+mj-lt"/>
        <a:buNone/>
        <a:defRPr sz="2800" kern="1200">
          <a:solidFill>
            <a:schemeClr val="tx2"/>
          </a:solidFill>
          <a:latin typeface="+mn-lt"/>
          <a:ea typeface="+mn-ea"/>
          <a:cs typeface="+mn-cs"/>
        </a:defRPr>
      </a:lvl1pPr>
      <a:lvl2pPr marL="36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2pPr>
      <a:lvl3pPr marL="72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3pPr>
      <a:lvl4pPr marL="1080000" indent="-360000" algn="l" defTabSz="914400" rtl="0" eaLnBrk="1" latinLnBrk="0" hangingPunct="1">
        <a:lnSpc>
          <a:spcPct val="100000"/>
        </a:lnSpc>
        <a:spcBef>
          <a:spcPts val="0"/>
        </a:spcBef>
        <a:buClr>
          <a:schemeClr val="accent3"/>
        </a:buClr>
        <a:buFont typeface="SBB Light" pitchFamily="2" charset="0"/>
        <a:buChar char="–"/>
        <a:defRPr sz="2800" kern="1200">
          <a:solidFill>
            <a:schemeClr val="tx2"/>
          </a:solidFill>
          <a:latin typeface="+mn-lt"/>
          <a:ea typeface="+mn-ea"/>
          <a:cs typeface="+mn-cs"/>
        </a:defRPr>
      </a:lvl4pPr>
      <a:lvl5pPr marL="1440000" indent="-360000" algn="l" defTabSz="914400" rtl="0" eaLnBrk="1" latinLnBrk="0" hangingPunct="1">
        <a:lnSpc>
          <a:spcPct val="100000"/>
        </a:lnSpc>
        <a:spcBef>
          <a:spcPts val="0"/>
        </a:spcBef>
        <a:buClr>
          <a:schemeClr val="accent3"/>
        </a:buClr>
        <a:buSzPct val="100000"/>
        <a:buFont typeface="SBB Light" pitchFamily="2" charset="0"/>
        <a:buChar char="–"/>
        <a:defRPr sz="2800" kern="1200">
          <a:solidFill>
            <a:schemeClr val="tx2"/>
          </a:solidFill>
          <a:latin typeface="+mn-lt"/>
          <a:ea typeface="+mn-ea"/>
          <a:cs typeface="+mn-cs"/>
        </a:defRPr>
      </a:lvl5pPr>
      <a:lvl6pPr marL="360000" indent="-360000" algn="l" defTabSz="914400" rtl="0" eaLnBrk="1" latinLnBrk="0" hangingPunct="1">
        <a:lnSpc>
          <a:spcPct val="90000"/>
        </a:lnSpc>
        <a:spcBef>
          <a:spcPts val="500"/>
        </a:spcBef>
        <a:buFontTx/>
        <a:buBlip>
          <a:blip r:embed="rId39"/>
        </a:buBlip>
        <a:defRPr sz="2800" kern="1200">
          <a:solidFill>
            <a:schemeClr val="tx2"/>
          </a:solidFill>
          <a:latin typeface="+mn-lt"/>
          <a:ea typeface="+mn-ea"/>
          <a:cs typeface="+mn-cs"/>
        </a:defRPr>
      </a:lvl6pPr>
      <a:lvl7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7pPr>
      <a:lvl8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8pPr>
      <a:lvl9pPr marL="0" indent="0" algn="l" defTabSz="914400" rtl="0" eaLnBrk="1" latinLnBrk="0" hangingPunct="1">
        <a:lnSpc>
          <a:spcPct val="90000"/>
        </a:lnSpc>
        <a:spcBef>
          <a:spcPts val="500"/>
        </a:spcBef>
        <a:buFontTx/>
        <a:buNone/>
        <a:defRPr sz="2800" kern="1200">
          <a:solidFill>
            <a:schemeClr val="tx2"/>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86.xml"/><Relationship Id="rId7" Type="http://schemas.openxmlformats.org/officeDocument/2006/relationships/chart" Target="../charts/chart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6F6F6"/>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316274F-10EE-42B8-9812-7995639350A4}"/>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60" imgH="359" progId="TCLayout.ActiveDocument.1">
                  <p:embed/>
                </p:oleObj>
              </mc:Choice>
              <mc:Fallback>
                <p:oleObj name="think-cell Folie" r:id="rId5" imgW="360" imgH="359" progId="TCLayout.ActiveDocument.1">
                  <p:embed/>
                  <p:pic>
                    <p:nvPicPr>
                      <p:cNvPr id="4" name="Objekt 3" hidden="1">
                        <a:extLst>
                          <a:ext uri="{FF2B5EF4-FFF2-40B4-BE49-F238E27FC236}">
                            <a16:creationId xmlns:a16="http://schemas.microsoft.com/office/drawing/2014/main" id="{A316274F-10EE-42B8-9812-7995639350A4}"/>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2CD79D1D-00A8-4538-BA52-D1C8BBD8082F}"/>
              </a:ext>
            </a:extLst>
          </p:cNvPr>
          <p:cNvSpPr/>
          <p:nvPr>
            <p:custDataLst>
              <p:tags r:id="rId2"/>
            </p:custDataLst>
          </p:nvPr>
        </p:nvSpPr>
        <p:spPr>
          <a:xfrm>
            <a:off x="152400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de-CH"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graphicFrame>
        <p:nvGraphicFramePr>
          <p:cNvPr id="9" name="Diagramm 8"/>
          <p:cNvGraphicFramePr/>
          <p:nvPr>
            <p:extLst>
              <p:ext uri="{D42A27DB-BD31-4B8C-83A1-F6EECF244321}">
                <p14:modId xmlns:p14="http://schemas.microsoft.com/office/powerpoint/2010/main" val="571126474"/>
              </p:ext>
            </p:extLst>
          </p:nvPr>
        </p:nvGraphicFramePr>
        <p:xfrm>
          <a:off x="440514" y="1261472"/>
          <a:ext cx="11066242" cy="5246119"/>
        </p:xfrm>
        <a:graphic>
          <a:graphicData uri="http://schemas.openxmlformats.org/drawingml/2006/chart">
            <c:chart xmlns:c="http://schemas.openxmlformats.org/drawingml/2006/chart" xmlns:r="http://schemas.openxmlformats.org/officeDocument/2006/relationships" r:id="rId7"/>
          </a:graphicData>
        </a:graphic>
      </p:graphicFrame>
      <p:sp>
        <p:nvSpPr>
          <p:cNvPr id="10" name="Title 1">
            <a:extLst>
              <a:ext uri="{FF2B5EF4-FFF2-40B4-BE49-F238E27FC236}">
                <a16:creationId xmlns:a16="http://schemas.microsoft.com/office/drawing/2014/main" id="{A572A723-7466-42C5-BC49-15C6E380BE11}"/>
              </a:ext>
            </a:extLst>
          </p:cNvPr>
          <p:cNvSpPr>
            <a:spLocks noGrp="1"/>
          </p:cNvSpPr>
          <p:nvPr>
            <p:ph type="title"/>
          </p:nvPr>
        </p:nvSpPr>
        <p:spPr>
          <a:xfrm>
            <a:off x="1487488" y="493295"/>
            <a:ext cx="9220200" cy="848226"/>
          </a:xfrm>
        </p:spPr>
        <p:txBody>
          <a:bodyPr/>
          <a:lstStyle/>
          <a:p>
            <a:r>
              <a:rPr lang="de-CH" dirty="0"/>
              <a:t>Verkaufspunkte SBB.</a:t>
            </a:r>
          </a:p>
        </p:txBody>
      </p:sp>
      <p:sp>
        <p:nvSpPr>
          <p:cNvPr id="11" name="Textfeld 10">
            <a:extLst>
              <a:ext uri="{FF2B5EF4-FFF2-40B4-BE49-F238E27FC236}">
                <a16:creationId xmlns:a16="http://schemas.microsoft.com/office/drawing/2014/main" id="{45495507-A500-4876-A7D7-039B7559AD0C}"/>
              </a:ext>
            </a:extLst>
          </p:cNvPr>
          <p:cNvSpPr txBox="1"/>
          <p:nvPr/>
        </p:nvSpPr>
        <p:spPr>
          <a:xfrm>
            <a:off x="2166940" y="6046398"/>
            <a:ext cx="7122975" cy="540060"/>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900" b="0" i="0" u="none" strike="noStrike" kern="1200" cap="none" spc="0" normalizeH="0" baseline="0" noProof="0" dirty="0">
                <a:ln>
                  <a:noFill/>
                </a:ln>
                <a:solidFill>
                  <a:schemeClr val="tx2"/>
                </a:solidFill>
                <a:effectLst/>
                <a:uLnTx/>
                <a:uFillTx/>
                <a:latin typeface="SBB Light"/>
                <a:ea typeface="+mn-ea"/>
                <a:cs typeface="Arial" pitchFamily="34" charset="0"/>
              </a:rPr>
              <a:t>Die Anzahl Verkaufspunkte der SBB kann nicht mit der Anzahl Bahnhöfe der SBB ins Verhältnis gesetzt werden: Verkaufspunkte an Bahnhöfen, die infrastrukturseitig der SBB gehören, können auch von anderen Transportunternehmen als der SBB geführt werden. Zudem gibt es Verkaufspunkte der SBB, die sich nicht an Bahnhöfen (bspw. Genève </a:t>
            </a:r>
            <a:r>
              <a:rPr kumimoji="0" lang="de-CH" sz="900" b="0" i="0" u="none" strike="noStrike" kern="1200" cap="none" spc="0" normalizeH="0" baseline="0" noProof="0" dirty="0" err="1">
                <a:ln>
                  <a:noFill/>
                </a:ln>
                <a:solidFill>
                  <a:schemeClr val="tx2"/>
                </a:solidFill>
                <a:effectLst/>
                <a:uLnTx/>
                <a:uFillTx/>
                <a:latin typeface="SBB Light"/>
                <a:ea typeface="+mn-ea"/>
                <a:cs typeface="Arial" pitchFamily="34" charset="0"/>
              </a:rPr>
              <a:t>Balexert</a:t>
            </a:r>
            <a:r>
              <a:rPr kumimoji="0" lang="de-CH" sz="900" b="0" i="0" u="none" strike="noStrike" kern="1200" cap="none" spc="0" normalizeH="0" baseline="0" noProof="0" dirty="0">
                <a:ln>
                  <a:noFill/>
                </a:ln>
                <a:solidFill>
                  <a:schemeClr val="tx2"/>
                </a:solidFill>
                <a:effectLst/>
                <a:uLnTx/>
                <a:uFillTx/>
                <a:latin typeface="SBB Light"/>
                <a:ea typeface="+mn-ea"/>
                <a:cs typeface="Arial" pitchFamily="34" charset="0"/>
              </a:rPr>
              <a:t>) oder Bahnhöfen der SBB (bspw. Konstanz) befinden.</a:t>
            </a:r>
          </a:p>
        </p:txBody>
      </p:sp>
      <p:sp>
        <p:nvSpPr>
          <p:cNvPr id="12" name="Footer Placeholder 2">
            <a:extLst>
              <a:ext uri="{FF2B5EF4-FFF2-40B4-BE49-F238E27FC236}">
                <a16:creationId xmlns:a16="http://schemas.microsoft.com/office/drawing/2014/main" id="{1A4657D7-3337-475E-8E67-E8F468A949AF}"/>
              </a:ext>
            </a:extLst>
          </p:cNvPr>
          <p:cNvSpPr>
            <a:spLocks noGrp="1"/>
          </p:cNvSpPr>
          <p:nvPr>
            <p:ph type="ftr" sz="quarter" idx="11"/>
          </p:nvPr>
        </p:nvSpPr>
        <p:spPr>
          <a:xfrm>
            <a:off x="8697345" y="5583335"/>
            <a:ext cx="1727767" cy="17064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e-CH" sz="1100" b="0" i="0" u="none" strike="noStrike" kern="0" cap="none" spc="0" normalizeH="0" baseline="0" noProof="0" dirty="0">
                <a:ln>
                  <a:noFill/>
                </a:ln>
                <a:effectLst/>
                <a:uLnTx/>
                <a:uFillTx/>
                <a:latin typeface="SBB Light"/>
                <a:ea typeface="+mn-ea"/>
                <a:cs typeface="+mn-cs"/>
              </a:rPr>
              <a:t>reporting.sbb.ch</a:t>
            </a:r>
          </a:p>
        </p:txBody>
      </p:sp>
    </p:spTree>
    <p:extLst>
      <p:ext uri="{BB962C8B-B14F-4D97-AF65-F5344CB8AC3E}">
        <p14:creationId xmlns:p14="http://schemas.microsoft.com/office/powerpoint/2010/main" val="38650120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1LGE5CWQXCaS3mOvkoEHA"/>
</p:tagLst>
</file>

<file path=ppt/theme/theme1.xml><?xml version="1.0" encoding="utf-8"?>
<a:theme xmlns:a="http://schemas.openxmlformats.org/drawingml/2006/main" name="1_20170515_PPT-Vorlage_NEU_16-9">
  <a:themeElements>
    <a:clrScheme name="SBB">
      <a:dk1>
        <a:srgbClr val="000000"/>
      </a:dk1>
      <a:lt1>
        <a:srgbClr val="FFFFFF"/>
      </a:lt1>
      <a:dk2>
        <a:srgbClr val="B7B7B7"/>
      </a:dk2>
      <a:lt2>
        <a:srgbClr val="4C4C4C"/>
      </a:lt2>
      <a:accent1>
        <a:srgbClr val="ABADCB"/>
      </a:accent1>
      <a:accent2>
        <a:srgbClr val="6C6FA4"/>
      </a:accent2>
      <a:accent3>
        <a:srgbClr val="2D327D"/>
      </a:accent3>
      <a:accent4>
        <a:srgbClr val="FF9999"/>
      </a:accent4>
      <a:accent5>
        <a:srgbClr val="FF4C4C"/>
      </a:accent5>
      <a:accent6>
        <a:srgbClr val="FF0000"/>
      </a:accent6>
      <a:hlink>
        <a:srgbClr val="2D327D"/>
      </a:hlink>
      <a:folHlink>
        <a:srgbClr val="2D327D"/>
      </a:folHlink>
    </a:clrScheme>
    <a:fontScheme name="SBB">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wrap="square" lIns="36000" tIns="36000" rIns="36000" bIns="36000" rtlCol="0" anchor="t" anchorCtr="0">
        <a:normAutofit/>
      </a:bodyPr>
      <a:lstStyle>
        <a:defPPr algn="ctr">
          <a:defRPr sz="2400" b="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B7B7B7"/>
          </a:solidFill>
        </a:ln>
      </a:spPr>
      <a:bodyPr/>
      <a:lstStyle/>
      <a:style>
        <a:lnRef idx="1">
          <a:schemeClr val="accent1"/>
        </a:lnRef>
        <a:fillRef idx="0">
          <a:schemeClr val="accent1"/>
        </a:fillRef>
        <a:effectRef idx="0">
          <a:schemeClr val="accent1"/>
        </a:effectRef>
        <a:fontRef idx="minor">
          <a:schemeClr val="tx1"/>
        </a:fontRef>
      </a:style>
    </a:lnDef>
    <a:txDef>
      <a:spPr/>
      <a:bodyPr/>
      <a:lstStyle>
        <a:defPPr>
          <a:defRPr noProof="0" dirty="0" smtClean="0"/>
        </a:defPPr>
      </a:lstStyle>
    </a:txDef>
  </a:objectDefaults>
  <a:extraClrSchemeLst>
    <a:extraClrScheme>
      <a:clrScheme name="SBB">
        <a:dk1>
          <a:sysClr val="windowText" lastClr="000000"/>
        </a:dk1>
        <a:lt1>
          <a:sysClr val="window" lastClr="FFFFFF"/>
        </a:lt1>
        <a:dk2>
          <a:srgbClr val="B7B7B7"/>
        </a:dk2>
        <a:lt2>
          <a:srgbClr val="4C4C4C"/>
        </a:lt2>
        <a:accent1>
          <a:srgbClr val="ABADCB"/>
        </a:accent1>
        <a:accent2>
          <a:srgbClr val="6C6FA4"/>
        </a:accent2>
        <a:accent3>
          <a:srgbClr val="2D327D"/>
        </a:accent3>
        <a:accent4>
          <a:srgbClr val="FF9999"/>
        </a:accent4>
        <a:accent5>
          <a:srgbClr val="FF4C4C"/>
        </a:accent5>
        <a:accent6>
          <a:srgbClr val="EB0000"/>
        </a:accent6>
        <a:hlink>
          <a:srgbClr val="2D327D"/>
        </a:hlink>
        <a:folHlink>
          <a:srgbClr val="D5D6E5"/>
        </a:folHlink>
      </a:clrScheme>
    </a:extraClrScheme>
  </a:extraClrSchemeLst>
  <a:extLst>
    <a:ext uri="{05A4C25C-085E-4340-85A3-A5531E510DB2}">
      <thm15:themeFamily xmlns:thm15="http://schemas.microsoft.com/office/thememl/2012/main" name="20171027_PPT-Vorlage_NEU_16-9_DE.potx" id="{0F39B86A-6FEA-4482-98DD-A0AF78DA8361}" vid="{2F05930E-573E-4379-8421-B361C9D363BB}"/>
    </a:ext>
  </a:extLst>
</a:theme>
</file>

<file path=ppt/theme/theme2.xml><?xml version="1.0" encoding="utf-8"?>
<a:theme xmlns:a="http://schemas.openxmlformats.org/drawingml/2006/main" name="Benutzerdefiniertes Design">
  <a:themeElements>
    <a:clrScheme name="SBB">
      <a:dk1>
        <a:sysClr val="windowText" lastClr="000000"/>
      </a:dk1>
      <a:lt1>
        <a:sysClr val="window" lastClr="FFFFFF"/>
      </a:lt1>
      <a:dk2>
        <a:srgbClr val="444444"/>
      </a:dk2>
      <a:lt2>
        <a:srgbClr val="E5E5E5"/>
      </a:lt2>
      <a:accent1>
        <a:srgbClr val="A20013"/>
      </a:accent1>
      <a:accent2>
        <a:srgbClr val="C60018"/>
      </a:accent2>
      <a:accent3>
        <a:srgbClr val="EB0000"/>
      </a:accent3>
      <a:accent4>
        <a:srgbClr val="E5E5E5"/>
      </a:accent4>
      <a:accent5>
        <a:srgbClr val="BDBDBD"/>
      </a:accent5>
      <a:accent6>
        <a:srgbClr val="8D8D8D"/>
      </a:accent6>
      <a:hlink>
        <a:srgbClr val="444444"/>
      </a:hlink>
      <a:folHlink>
        <a:srgbClr val="444444"/>
      </a:folHlink>
    </a:clrScheme>
    <a:fontScheme name="SBB">
      <a:majorFont>
        <a:latin typeface="SBB Light"/>
        <a:ea typeface=""/>
        <a:cs typeface=""/>
      </a:majorFont>
      <a:minorFont>
        <a:latin typeface="SB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err="1" smtClean="0">
            <a:solidFill>
              <a:schemeClr val="tx2"/>
            </a:solidFill>
          </a:defRPr>
        </a:defPPr>
      </a:lstStyle>
    </a:txDef>
  </a:objectDefaults>
  <a:extraClrSchemeLst/>
  <a:extLst>
    <a:ext uri="{05A4C25C-085E-4340-85A3-A5531E510DB2}">
      <thm15:themeFamily xmlns:thm15="http://schemas.microsoft.com/office/thememl/2012/main" name="SBB_PPT_Vorlage_16-9.potx" id="{AFB2A5A8-0A5A-4D2B-9D1C-2542F94FB30E}" vid="{15E43739-6510-4178-811B-133FA854CD7A}"/>
    </a:ext>
  </a:extLst>
</a:theme>
</file>

<file path=ppt/theme/theme3.xml><?xml version="1.0" encoding="utf-8"?>
<a:theme xmlns:a="http://schemas.openxmlformats.org/drawingml/2006/main" name="1_Benutzerdefiniertes Design">
  <a:themeElements>
    <a:clrScheme name="SBB">
      <a:dk1>
        <a:sysClr val="windowText" lastClr="000000"/>
      </a:dk1>
      <a:lt1>
        <a:sysClr val="window" lastClr="FFFFFF"/>
      </a:lt1>
      <a:dk2>
        <a:srgbClr val="444444"/>
      </a:dk2>
      <a:lt2>
        <a:srgbClr val="E5E5E5"/>
      </a:lt2>
      <a:accent1>
        <a:srgbClr val="A20013"/>
      </a:accent1>
      <a:accent2>
        <a:srgbClr val="C60018"/>
      </a:accent2>
      <a:accent3>
        <a:srgbClr val="EB0000"/>
      </a:accent3>
      <a:accent4>
        <a:srgbClr val="E5E5E5"/>
      </a:accent4>
      <a:accent5>
        <a:srgbClr val="BDBDBD"/>
      </a:accent5>
      <a:accent6>
        <a:srgbClr val="8D8D8D"/>
      </a:accent6>
      <a:hlink>
        <a:srgbClr val="444444"/>
      </a:hlink>
      <a:folHlink>
        <a:srgbClr val="444444"/>
      </a:folHlink>
    </a:clrScheme>
    <a:fontScheme name="SBB">
      <a:majorFont>
        <a:latin typeface="SBB Light"/>
        <a:ea typeface=""/>
        <a:cs typeface=""/>
      </a:majorFont>
      <a:minorFont>
        <a:latin typeface="SBB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4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400" dirty="0" err="1" smtClean="0">
            <a:solidFill>
              <a:schemeClr val="tx2"/>
            </a:solidFill>
          </a:defRPr>
        </a:defPPr>
      </a:lstStyle>
    </a:txDef>
  </a:objectDefaults>
  <a:extraClrSchemeLst/>
  <a:extLst>
    <a:ext uri="{05A4C25C-085E-4340-85A3-A5531E510DB2}">
      <thm15:themeFamily xmlns:thm15="http://schemas.microsoft.com/office/thememl/2012/main" name="SBB_PPT_Folienbibliothek_16-9.potx" id="{5661FAAD-0434-4CE1-BCF0-B44E0993DACB}" vid="{03AF73CB-3D4D-47A6-916A-F20A5F10DFAB}"/>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Ausgabe xmlns="2f5c8543-cf23-4718-a3b8-32b0a91d511a" xsi:nil="true"/>
    <SharedWithUsers xmlns="96e82a89-ba48-4728-b345-cf206dbec8f1">
      <UserInfo>
        <DisplayName>Schärli Reto (KOM-NEW)</DisplayName>
        <AccountId>437</AccountId>
        <AccountType/>
      </UserInfo>
      <UserInfo>
        <DisplayName>Vrecko Gabriela (KOM-I)</DisplayName>
        <AccountId>345</AccountId>
        <AccountType/>
      </UserInfo>
      <UserInfo>
        <DisplayName>Vincen Raj Bobisha (KOM-NEW - Extern)</DisplayName>
        <AccountId>4510</AccountId>
        <AccountType/>
      </UserInfo>
      <UserInfo>
        <DisplayName>Carecci Silvano (IM-BW-BDM)</DisplayName>
        <AccountId>5126</AccountId>
        <AccountType/>
      </UserInfo>
      <UserInfo>
        <DisplayName>Burkhard Sabina (KOM-NEW)</DisplayName>
        <AccountId>5505</AccountId>
        <AccountType/>
      </UserInfo>
      <UserInfo>
        <DisplayName>Susuri Urimé (F)</DisplayName>
        <AccountId>5872</AccountId>
        <AccountType/>
      </UserInfo>
      <UserInfo>
        <DisplayName>Vincen Raj Bobisha (HR-TKB-FU-HOP)</DisplayName>
        <AccountId>5704</AccountId>
        <AccountType/>
      </UserInfo>
      <UserInfo>
        <DisplayName>Dischoe Marc Olivier (KOM-NEW)</DisplayName>
        <AccountId>577</AccountId>
        <AccountType/>
      </UserInfo>
      <UserInfo>
        <DisplayName>Wipf Claudia (KOM-P-MP)</DisplayName>
        <AccountId>844</AccountId>
        <AccountType/>
      </UserInfo>
    </SharedWithUsers>
    <lcf76f155ced4ddcb4097134ff3c332f xmlns="2f5c8543-cf23-4718-a3b8-32b0a91d511a">
      <Terms xmlns="http://schemas.microsoft.com/office/infopath/2007/PartnerControls"/>
    </lcf76f155ced4ddcb4097134ff3c332f>
    <TaxCatchAll xmlns="96e82a89-ba48-4728-b345-cf206dbec8f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AF392CA6BBE5574789A5155D1822A344" ma:contentTypeVersion="19" ma:contentTypeDescription="Ein neues Dokument erstellen." ma:contentTypeScope="" ma:versionID="4dd304521cd42a335004f88bc78b46b0">
  <xsd:schema xmlns:xsd="http://www.w3.org/2001/XMLSchema" xmlns:xs="http://www.w3.org/2001/XMLSchema" xmlns:p="http://schemas.microsoft.com/office/2006/metadata/properties" xmlns:ns2="96e82a89-ba48-4728-b345-cf206dbec8f1" xmlns:ns3="2f5c8543-cf23-4718-a3b8-32b0a91d511a" targetNamespace="http://schemas.microsoft.com/office/2006/metadata/properties" ma:root="true" ma:fieldsID="0119a1b2b524b2b9f972c52e0796504f" ns2:_="" ns3:_="">
    <xsd:import namespace="96e82a89-ba48-4728-b345-cf206dbec8f1"/>
    <xsd:import namespace="2f5c8543-cf23-4718-a3b8-32b0a91d511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Ausgabe" minOccurs="0"/>
                <xsd:element ref="ns3:MediaServiceGenerationTime" minOccurs="0"/>
                <xsd:element ref="ns3:MediaServiceEventHashCode" minOccurs="0"/>
                <xsd:element ref="ns3:MediaServiceDateTaken" minOccurs="0"/>
                <xsd:element ref="ns3:MediaServiceLocation"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e82a89-ba48-4728-b345-cf206dbec8f1"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TaxCatchAll" ma:index="24" nillable="true" ma:displayName="Taxonomy Catch All Column" ma:hidden="true" ma:list="{37e3da64-c71a-4074-9be5-101312c09dec}" ma:internalName="TaxCatchAll" ma:showField="CatchAllData" ma:web="96e82a89-ba48-4728-b345-cf206dbec8f1">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f5c8543-cf23-4718-a3b8-32b0a91d511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Ausgabe" ma:index="14" nillable="true" ma:displayName="Ausgabe" ma:description="Ausgabe des Dokumentes" ma:format="RadioButtons" ma:internalName="Ausgabe">
      <xsd:simpleType>
        <xsd:union memberTypes="dms:Text">
          <xsd:simpleType>
            <xsd:restriction base="dms:Choice">
              <xsd:enumeration value="2016"/>
              <xsd:enumeration value="2017"/>
              <xsd:enumeration value="2018"/>
              <xsd:enumeration value="2019"/>
            </xsd:restriction>
          </xsd:simpleType>
        </xsd:un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Bildmarkierungen" ma:readOnly="false" ma:fieldId="{5cf76f15-5ced-4ddc-b409-7134ff3c332f}" ma:taxonomyMulti="true" ma:sspId="2e7e7b05-955d-4ec1-8c45-691041b8b00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15E158-F398-42BF-8A91-7C2A147B9234}">
  <ds:schemaRefs>
    <ds:schemaRef ds:uri="http://purl.org/dc/elements/1.1/"/>
    <ds:schemaRef ds:uri="96e82a89-ba48-4728-b345-cf206dbec8f1"/>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http://schemas.microsoft.com/office/2006/metadata/properties"/>
    <ds:schemaRef ds:uri="2f5c8543-cf23-4718-a3b8-32b0a91d511a"/>
    <ds:schemaRef ds:uri="http://www.w3.org/XML/1998/namespace"/>
    <ds:schemaRef ds:uri="http://purl.org/dc/dcmitype/"/>
  </ds:schemaRefs>
</ds:datastoreItem>
</file>

<file path=customXml/itemProps2.xml><?xml version="1.0" encoding="utf-8"?>
<ds:datastoreItem xmlns:ds="http://schemas.openxmlformats.org/officeDocument/2006/customXml" ds:itemID="{47CC5493-9CFD-4295-AC98-7D6BB27AF7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e82a89-ba48-4728-b345-cf206dbec8f1"/>
    <ds:schemaRef ds:uri="2f5c8543-cf23-4718-a3b8-32b0a91d51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AB7085B-D9CF-4930-865D-AE9ED154F05C}">
  <ds:schemaRefs>
    <ds:schemaRef ds:uri="http://schemas.microsoft.com/sharepoint/v3/contenttype/forms"/>
  </ds:schemaRefs>
</ds:datastoreItem>
</file>

<file path=docMetadata/LabelInfo.xml><?xml version="1.0" encoding="utf-8"?>
<clbl:labelList xmlns:clbl="http://schemas.microsoft.com/office/2020/mipLabelMetadata">
  <clbl:label id="{5bc72e09-8d7d-491f-a3d1-5693fc6e93f6}" enabled="1" method="Privileged" siteId="{2cda5d11-f0ac-46b3-967d-af1b2e1bd01a}" contentBits="0" removed="0"/>
</clbl:labelList>
</file>

<file path=docProps/app.xml><?xml version="1.0" encoding="utf-8"?>
<Properties xmlns="http://schemas.openxmlformats.org/officeDocument/2006/extended-properties" xmlns:vt="http://schemas.openxmlformats.org/officeDocument/2006/docPropsVTypes">
  <Template>blank</Template>
  <TotalTime>0</TotalTime>
  <Words>91</Words>
  <Application>Microsoft Office PowerPoint</Application>
  <PresentationFormat>Breitbild</PresentationFormat>
  <Paragraphs>6</Paragraphs>
  <Slides>1</Slides>
  <Notes>1</Notes>
  <HiddenSlides>0</HiddenSlides>
  <MMClips>0</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1</vt:i4>
      </vt:variant>
    </vt:vector>
  </HeadingPairs>
  <TitlesOfParts>
    <vt:vector size="10" baseType="lpstr">
      <vt:lpstr>Arial</vt:lpstr>
      <vt:lpstr>Calibri</vt:lpstr>
      <vt:lpstr>SBB Light</vt:lpstr>
      <vt:lpstr>Symbol</vt:lpstr>
      <vt:lpstr>Wingdings 3</vt:lpstr>
      <vt:lpstr>1_20170515_PPT-Vorlage_NEU_16-9</vt:lpstr>
      <vt:lpstr>Benutzerdefiniertes Design</vt:lpstr>
      <vt:lpstr>1_Benutzerdefiniertes Design</vt:lpstr>
      <vt:lpstr>think-cell Folie</vt:lpstr>
      <vt:lpstr>Verkaufspunkte SBB.</vt:lpstr>
    </vt:vector>
  </TitlesOfParts>
  <Company>SBB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rkaufspunkte SBB.</dc:title>
  <dc:creator>Meyer Raphael (KOM-PGA-VSF)</dc:creator>
  <cp:lastModifiedBy>Stefan Weigel (PAR-EPS)</cp:lastModifiedBy>
  <cp:revision>24</cp:revision>
  <dcterms:created xsi:type="dcterms:W3CDTF">2020-09-30T11:00:09Z</dcterms:created>
  <dcterms:modified xsi:type="dcterms:W3CDTF">2025-02-25T09:2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392CA6BBE5574789A5155D1822A344</vt:lpwstr>
  </property>
  <property fmtid="{D5CDD505-2E9C-101B-9397-08002B2CF9AE}" pid="3" name="_dlc_DocIdItemGuid">
    <vt:lpwstr>7f61737c-4fb7-4bc4-8821-d36f28de962c</vt:lpwstr>
  </property>
  <property fmtid="{D5CDD505-2E9C-101B-9397-08002B2CF9AE}" pid="4" name="TmpVertraulichkeit">
    <vt:lpwstr/>
  </property>
  <property fmtid="{D5CDD505-2E9C-101B-9397-08002B2CF9AE}" pid="5" name="TmpStatus">
    <vt:lpwstr/>
  </property>
  <property fmtid="{D5CDD505-2E9C-101B-9397-08002B2CF9AE}" pid="6" name="MSIP_Label_5bc72e09-8d7d-491f-a3d1-5693fc6e93f6_Enabled">
    <vt:lpwstr>true</vt:lpwstr>
  </property>
  <property fmtid="{D5CDD505-2E9C-101B-9397-08002B2CF9AE}" pid="7" name="MSIP_Label_5bc72e09-8d7d-491f-a3d1-5693fc6e93f6_SetDate">
    <vt:lpwstr>2021-10-19T13:12:15Z</vt:lpwstr>
  </property>
  <property fmtid="{D5CDD505-2E9C-101B-9397-08002B2CF9AE}" pid="8" name="MSIP_Label_5bc72e09-8d7d-491f-a3d1-5693fc6e93f6_Method">
    <vt:lpwstr>Privileged</vt:lpwstr>
  </property>
  <property fmtid="{D5CDD505-2E9C-101B-9397-08002B2CF9AE}" pid="9" name="MSIP_Label_5bc72e09-8d7d-491f-a3d1-5693fc6e93f6_Name">
    <vt:lpwstr>öffentlich</vt:lpwstr>
  </property>
  <property fmtid="{D5CDD505-2E9C-101B-9397-08002B2CF9AE}" pid="10" name="MSIP_Label_5bc72e09-8d7d-491f-a3d1-5693fc6e93f6_SiteId">
    <vt:lpwstr>2cda5d11-f0ac-46b3-967d-af1b2e1bd01a</vt:lpwstr>
  </property>
  <property fmtid="{D5CDD505-2E9C-101B-9397-08002B2CF9AE}" pid="11" name="MSIP_Label_5bc72e09-8d7d-491f-a3d1-5693fc6e93f6_ActionId">
    <vt:lpwstr>3b8d0866-56e4-4c4e-8fb7-7b1e972867f0</vt:lpwstr>
  </property>
  <property fmtid="{D5CDD505-2E9C-101B-9397-08002B2CF9AE}" pid="12" name="MSIP_Label_5bc72e09-8d7d-491f-a3d1-5693fc6e93f6_ContentBits">
    <vt:lpwstr>0</vt:lpwstr>
  </property>
  <property fmtid="{D5CDD505-2E9C-101B-9397-08002B2CF9AE}" pid="13" name="MediaServiceImageTags">
    <vt:lpwstr/>
  </property>
</Properties>
</file>